
<file path=[Content_Types].xml><?xml version="1.0" encoding="utf-8"?>
<Types xmlns="http://schemas.openxmlformats.org/package/2006/content-types">
  <Default Extension="tmp" ContentType="image/png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4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5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6.xml" ContentType="application/vnd.openxmlformats-officedocument.theme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7.xml" ContentType="application/vnd.openxmlformats-officedocument.theme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8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11.xml" ContentType="application/vnd.openxmlformats-officedocument.presentationml.tags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1.xml" ContentType="application/vnd.openxmlformats-officedocument.presentationml.notesSlide+xml"/>
  <Override PartName="/ppt/charts/chart6.xml" ContentType="application/vnd.openxmlformats-officedocument.drawingml.chart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2.xml" ContentType="application/vnd.openxmlformats-officedocument.presentationml.notesSlide+xml"/>
  <Override PartName="/ppt/charts/chart7.xml" ContentType="application/vnd.openxmlformats-officedocument.drawingml.chart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8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drawings/drawing1.xml" ContentType="application/vnd.openxmlformats-officedocument.drawingml.chartshape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charts/chart9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charts/chart10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charts/chart11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charts/chart12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5" r:id="rId2"/>
    <p:sldMasterId id="2147483681" r:id="rId3"/>
    <p:sldMasterId id="2147483691" r:id="rId4"/>
    <p:sldMasterId id="2147483730" r:id="rId5"/>
    <p:sldMasterId id="2147483740" r:id="rId6"/>
    <p:sldMasterId id="2147483747" r:id="rId7"/>
    <p:sldMasterId id="2147483758" r:id="rId8"/>
  </p:sldMasterIdLst>
  <p:notesMasterIdLst>
    <p:notesMasterId r:id="rId45"/>
  </p:notesMasterIdLst>
  <p:sldIdLst>
    <p:sldId id="1624" r:id="rId9"/>
    <p:sldId id="1783" r:id="rId10"/>
    <p:sldId id="1784" r:id="rId11"/>
    <p:sldId id="1796" r:id="rId12"/>
    <p:sldId id="1797" r:id="rId13"/>
    <p:sldId id="1798" r:id="rId14"/>
    <p:sldId id="1670" r:id="rId15"/>
    <p:sldId id="1799" r:id="rId16"/>
    <p:sldId id="1800" r:id="rId17"/>
    <p:sldId id="1801" r:id="rId18"/>
    <p:sldId id="1802" r:id="rId19"/>
    <p:sldId id="1803" r:id="rId20"/>
    <p:sldId id="1808" r:id="rId21"/>
    <p:sldId id="1810" r:id="rId22"/>
    <p:sldId id="1811" r:id="rId23"/>
    <p:sldId id="1812" r:id="rId24"/>
    <p:sldId id="1804" r:id="rId25"/>
    <p:sldId id="1805" r:id="rId26"/>
    <p:sldId id="1806" r:id="rId27"/>
    <p:sldId id="1807" r:id="rId28"/>
    <p:sldId id="1646" r:id="rId29"/>
    <p:sldId id="1814" r:id="rId30"/>
    <p:sldId id="1818" r:id="rId31"/>
    <p:sldId id="1819" r:id="rId32"/>
    <p:sldId id="1813" r:id="rId33"/>
    <p:sldId id="1815" r:id="rId34"/>
    <p:sldId id="1816" r:id="rId35"/>
    <p:sldId id="1817" r:id="rId36"/>
    <p:sldId id="1702" r:id="rId37"/>
    <p:sldId id="1703" r:id="rId38"/>
    <p:sldId id="1820" r:id="rId39"/>
    <p:sldId id="1821" r:id="rId40"/>
    <p:sldId id="1822" r:id="rId41"/>
    <p:sldId id="1823" r:id="rId42"/>
    <p:sldId id="1732" r:id="rId43"/>
    <p:sldId id="1824" r:id="rId44"/>
  </p:sldIdLst>
  <p:sldSz cx="12192000" cy="6858000"/>
  <p:notesSz cx="6858000" cy="9144000"/>
  <p:custDataLst>
    <p:tags r:id="rId46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58" userDrawn="1">
          <p15:clr>
            <a:srgbClr val="A4A3A4"/>
          </p15:clr>
        </p15:guide>
        <p15:guide id="2" pos="574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31145"/>
    <a:srgbClr val="3333CC"/>
    <a:srgbClr val="00FF00"/>
    <a:srgbClr val="FF33CC"/>
    <a:srgbClr val="00B050"/>
    <a:srgbClr val="800000"/>
    <a:srgbClr val="EAEFF7"/>
    <a:srgbClr val="FF9900"/>
    <a:srgbClr val="4472C4"/>
    <a:srgbClr val="76717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C083E6E3-FA7D-4D7B-A595-EF9225AFEA82}" styleName="Světlý styl 1 – zvýraznění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990" autoAdjust="0"/>
    <p:restoredTop sz="95501" autoAdjust="0"/>
  </p:normalViewPr>
  <p:slideViewPr>
    <p:cSldViewPr snapToGrid="0">
      <p:cViewPr varScale="1">
        <p:scale>
          <a:sx n="102" d="100"/>
          <a:sy n="102" d="100"/>
        </p:scale>
        <p:origin x="312" y="114"/>
      </p:cViewPr>
      <p:guideLst>
        <p:guide orient="horz" pos="958"/>
        <p:guide pos="574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slide" Target="slides/slide3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openxmlformats.org/officeDocument/2006/relationships/slide" Target="slides/slide34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46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41" Type="http://schemas.openxmlformats.org/officeDocument/2006/relationships/slide" Target="slides/slide33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slide" Target="slides/slide32.xml"/><Relationship Id="rId45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49" Type="http://schemas.openxmlformats.org/officeDocument/2006/relationships/theme" Target="theme/theme1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4" Type="http://schemas.openxmlformats.org/officeDocument/2006/relationships/slide" Target="slides/slide36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slide" Target="slides/slide35.xml"/><Relationship Id="rId48" Type="http://schemas.openxmlformats.org/officeDocument/2006/relationships/viewProps" Target="viewProps.xml"/><Relationship Id="rId8" Type="http://schemas.openxmlformats.org/officeDocument/2006/relationships/slideMaster" Target="slideMasters/slideMaster8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8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9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0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aplikace_Microsoft_Excel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aplikace_Microsoft_Excel6.xlsx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file:///\\172.16.18.175\share\000%20Sty&#269;n&#253;%20t&#253;m%20od%201.7.2020\25%20DIP%20-%20Dispe&#269;ink%20Intenzivn&#237;%20P&#233;&#269;e\Briefingy\Obsazenost%20lu&#778;z&#780;ek.xlsx" TargetMode="Externa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chartUserShapes" Target="../drawings/drawing1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7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243</c:f>
              <c:numCache>
                <c:formatCode>m/d/yyyy</c:formatCode>
                <c:ptCount val="151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</c:numCache>
            </c:numRef>
          </c:cat>
          <c:val>
            <c:numRef>
              <c:f>Sheet1!$B$93:$B$243</c:f>
              <c:numCache>
                <c:formatCode>0</c:formatCode>
                <c:ptCount val="151"/>
                <c:pt idx="0">
                  <c:v>5180</c:v>
                </c:pt>
                <c:pt idx="1">
                  <c:v>4561</c:v>
                </c:pt>
                <c:pt idx="2">
                  <c:v>4624</c:v>
                </c:pt>
                <c:pt idx="3">
                  <c:v>4747</c:v>
                </c:pt>
                <c:pt idx="4">
                  <c:v>3312</c:v>
                </c:pt>
                <c:pt idx="5">
                  <c:v>1112</c:v>
                </c:pt>
                <c:pt idx="6">
                  <c:v>4251</c:v>
                </c:pt>
                <c:pt idx="7">
                  <c:v>5855</c:v>
                </c:pt>
                <c:pt idx="8">
                  <c:v>6414</c:v>
                </c:pt>
                <c:pt idx="9">
                  <c:v>5872</c:v>
                </c:pt>
                <c:pt idx="10">
                  <c:v>6209</c:v>
                </c:pt>
                <c:pt idx="11">
                  <c:v>3655</c:v>
                </c:pt>
                <c:pt idx="12">
                  <c:v>1998</c:v>
                </c:pt>
                <c:pt idx="13">
                  <c:v>5176</c:v>
                </c:pt>
                <c:pt idx="14">
                  <c:v>7908</c:v>
                </c:pt>
                <c:pt idx="15">
                  <c:v>8258</c:v>
                </c:pt>
                <c:pt idx="16">
                  <c:v>7614</c:v>
                </c:pt>
                <c:pt idx="17">
                  <c:v>8838</c:v>
                </c:pt>
                <c:pt idx="18">
                  <c:v>5326</c:v>
                </c:pt>
                <c:pt idx="19">
                  <c:v>3403</c:v>
                </c:pt>
                <c:pt idx="20">
                  <c:v>7950</c:v>
                </c:pt>
                <c:pt idx="21">
                  <c:v>10913</c:v>
                </c:pt>
                <c:pt idx="22">
                  <c:v>14139</c:v>
                </c:pt>
                <c:pt idx="23">
                  <c:v>4373</c:v>
                </c:pt>
                <c:pt idx="24">
                  <c:v>2671</c:v>
                </c:pt>
                <c:pt idx="25">
                  <c:v>3031</c:v>
                </c:pt>
                <c:pt idx="26">
                  <c:v>3782</c:v>
                </c:pt>
                <c:pt idx="27">
                  <c:v>10937</c:v>
                </c:pt>
                <c:pt idx="28">
                  <c:v>16475</c:v>
                </c:pt>
                <c:pt idx="29">
                  <c:v>17061</c:v>
                </c:pt>
                <c:pt idx="30">
                  <c:v>13307</c:v>
                </c:pt>
                <c:pt idx="31">
                  <c:v>3446</c:v>
                </c:pt>
                <c:pt idx="32">
                  <c:v>4985</c:v>
                </c:pt>
                <c:pt idx="33">
                  <c:v>6267</c:v>
                </c:pt>
                <c:pt idx="34">
                  <c:v>12956</c:v>
                </c:pt>
                <c:pt idx="35">
                  <c:v>17401</c:v>
                </c:pt>
                <c:pt idx="36">
                  <c:v>17771</c:v>
                </c:pt>
                <c:pt idx="37">
                  <c:v>14882</c:v>
                </c:pt>
                <c:pt idx="38">
                  <c:v>13099</c:v>
                </c:pt>
                <c:pt idx="39">
                  <c:v>8437</c:v>
                </c:pt>
                <c:pt idx="40">
                  <c:v>4313</c:v>
                </c:pt>
                <c:pt idx="41">
                  <c:v>9386</c:v>
                </c:pt>
                <c:pt idx="42">
                  <c:v>10811</c:v>
                </c:pt>
                <c:pt idx="43">
                  <c:v>10918</c:v>
                </c:pt>
                <c:pt idx="44">
                  <c:v>8087</c:v>
                </c:pt>
                <c:pt idx="45">
                  <c:v>9300</c:v>
                </c:pt>
                <c:pt idx="46">
                  <c:v>5241</c:v>
                </c:pt>
                <c:pt idx="47">
                  <c:v>2641</c:v>
                </c:pt>
                <c:pt idx="48">
                  <c:v>7668</c:v>
                </c:pt>
                <c:pt idx="49">
                  <c:v>9610</c:v>
                </c:pt>
                <c:pt idx="50">
                  <c:v>8215</c:v>
                </c:pt>
                <c:pt idx="51">
                  <c:v>7532</c:v>
                </c:pt>
                <c:pt idx="52">
                  <c:v>8468</c:v>
                </c:pt>
                <c:pt idx="53">
                  <c:v>4239</c:v>
                </c:pt>
                <c:pt idx="54">
                  <c:v>2394</c:v>
                </c:pt>
                <c:pt idx="55">
                  <c:v>6974</c:v>
                </c:pt>
                <c:pt idx="56">
                  <c:v>9195</c:v>
                </c:pt>
                <c:pt idx="57">
                  <c:v>8504</c:v>
                </c:pt>
                <c:pt idx="58">
                  <c:v>8010</c:v>
                </c:pt>
                <c:pt idx="59">
                  <c:v>8052</c:v>
                </c:pt>
                <c:pt idx="60">
                  <c:v>4055</c:v>
                </c:pt>
                <c:pt idx="61">
                  <c:v>2573</c:v>
                </c:pt>
                <c:pt idx="62">
                  <c:v>7217</c:v>
                </c:pt>
                <c:pt idx="63">
                  <c:v>9148</c:v>
                </c:pt>
                <c:pt idx="64">
                  <c:v>9667</c:v>
                </c:pt>
                <c:pt idx="65">
                  <c:v>8107</c:v>
                </c:pt>
                <c:pt idx="66">
                  <c:v>8622</c:v>
                </c:pt>
                <c:pt idx="67">
                  <c:v>4820</c:v>
                </c:pt>
                <c:pt idx="68">
                  <c:v>2451</c:v>
                </c:pt>
                <c:pt idx="69">
                  <c:v>7777</c:v>
                </c:pt>
                <c:pt idx="70">
                  <c:v>10283</c:v>
                </c:pt>
                <c:pt idx="71">
                  <c:v>9538</c:v>
                </c:pt>
                <c:pt idx="72">
                  <c:v>9018</c:v>
                </c:pt>
                <c:pt idx="73">
                  <c:v>8830</c:v>
                </c:pt>
                <c:pt idx="74">
                  <c:v>5141</c:v>
                </c:pt>
                <c:pt idx="75">
                  <c:v>2880</c:v>
                </c:pt>
                <c:pt idx="76">
                  <c:v>8905</c:v>
                </c:pt>
                <c:pt idx="77">
                  <c:v>12608</c:v>
                </c:pt>
                <c:pt idx="78">
                  <c:v>10938</c:v>
                </c:pt>
                <c:pt idx="79">
                  <c:v>11703</c:v>
                </c:pt>
                <c:pt idx="80">
                  <c:v>11288</c:v>
                </c:pt>
                <c:pt idx="81">
                  <c:v>6775</c:v>
                </c:pt>
                <c:pt idx="82">
                  <c:v>4068</c:v>
                </c:pt>
                <c:pt idx="83">
                  <c:v>11408</c:v>
                </c:pt>
                <c:pt idx="84">
                  <c:v>15841</c:v>
                </c:pt>
                <c:pt idx="85">
                  <c:v>13796</c:v>
                </c:pt>
                <c:pt idx="86">
                  <c:v>14588</c:v>
                </c:pt>
                <c:pt idx="87">
                  <c:v>14776</c:v>
                </c:pt>
                <c:pt idx="88">
                  <c:v>7823</c:v>
                </c:pt>
                <c:pt idx="89">
                  <c:v>4587</c:v>
                </c:pt>
                <c:pt idx="90">
                  <c:v>12325</c:v>
                </c:pt>
                <c:pt idx="91">
                  <c:v>16777</c:v>
                </c:pt>
                <c:pt idx="92">
                  <c:v>15238</c:v>
                </c:pt>
                <c:pt idx="93">
                  <c:v>14649</c:v>
                </c:pt>
                <c:pt idx="94">
                  <c:v>13169</c:v>
                </c:pt>
                <c:pt idx="95">
                  <c:v>9130</c:v>
                </c:pt>
                <c:pt idx="96">
                  <c:v>3982</c:v>
                </c:pt>
                <c:pt idx="97">
                  <c:v>10654</c:v>
                </c:pt>
                <c:pt idx="98">
                  <c:v>15358</c:v>
                </c:pt>
                <c:pt idx="99">
                  <c:v>14535</c:v>
                </c:pt>
                <c:pt idx="100">
                  <c:v>11244</c:v>
                </c:pt>
                <c:pt idx="101">
                  <c:v>14958</c:v>
                </c:pt>
                <c:pt idx="102">
                  <c:v>6956</c:v>
                </c:pt>
                <c:pt idx="103">
                  <c:v>3332</c:v>
                </c:pt>
                <c:pt idx="104">
                  <c:v>10628</c:v>
                </c:pt>
                <c:pt idx="105">
                  <c:v>14028</c:v>
                </c:pt>
                <c:pt idx="106">
                  <c:v>12027</c:v>
                </c:pt>
                <c:pt idx="107">
                  <c:v>10659</c:v>
                </c:pt>
                <c:pt idx="108">
                  <c:v>9711</c:v>
                </c:pt>
                <c:pt idx="109">
                  <c:v>5466</c:v>
                </c:pt>
                <c:pt idx="110">
                  <c:v>2389</c:v>
                </c:pt>
                <c:pt idx="111">
                  <c:v>8240</c:v>
                </c:pt>
                <c:pt idx="112">
                  <c:v>10968</c:v>
                </c:pt>
                <c:pt idx="113">
                  <c:v>8847</c:v>
                </c:pt>
                <c:pt idx="114">
                  <c:v>7925</c:v>
                </c:pt>
                <c:pt idx="115">
                  <c:v>7710</c:v>
                </c:pt>
                <c:pt idx="116">
                  <c:v>3969</c:v>
                </c:pt>
                <c:pt idx="117">
                  <c:v>1743</c:v>
                </c:pt>
                <c:pt idx="118">
                  <c:v>6934</c:v>
                </c:pt>
                <c:pt idx="119">
                  <c:v>8629</c:v>
                </c:pt>
                <c:pt idx="120">
                  <c:v>7262</c:v>
                </c:pt>
                <c:pt idx="121">
                  <c:v>6244</c:v>
                </c:pt>
                <c:pt idx="122">
                  <c:v>3837</c:v>
                </c:pt>
                <c:pt idx="123">
                  <c:v>2160</c:v>
                </c:pt>
                <c:pt idx="124">
                  <c:v>1925</c:v>
                </c:pt>
                <c:pt idx="125">
                  <c:v>1419</c:v>
                </c:pt>
                <c:pt idx="126">
                  <c:v>5580</c:v>
                </c:pt>
                <c:pt idx="127">
                  <c:v>7051</c:v>
                </c:pt>
                <c:pt idx="128">
                  <c:v>5282</c:v>
                </c:pt>
                <c:pt idx="129">
                  <c:v>4820</c:v>
                </c:pt>
                <c:pt idx="130">
                  <c:v>2204</c:v>
                </c:pt>
                <c:pt idx="131">
                  <c:v>985</c:v>
                </c:pt>
                <c:pt idx="132">
                  <c:v>3868</c:v>
                </c:pt>
                <c:pt idx="133">
                  <c:v>5056</c:v>
                </c:pt>
                <c:pt idx="134">
                  <c:v>3714</c:v>
                </c:pt>
                <c:pt idx="135">
                  <c:v>3262</c:v>
                </c:pt>
                <c:pt idx="136">
                  <c:v>3215</c:v>
                </c:pt>
                <c:pt idx="137">
                  <c:v>1541</c:v>
                </c:pt>
                <c:pt idx="138">
                  <c:v>833</c:v>
                </c:pt>
                <c:pt idx="139">
                  <c:v>3331</c:v>
                </c:pt>
                <c:pt idx="140">
                  <c:v>3812</c:v>
                </c:pt>
                <c:pt idx="141">
                  <c:v>29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43</c:f>
              <c:numCache>
                <c:formatCode>m/d/yyyy</c:formatCode>
                <c:ptCount val="151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</c:numCache>
            </c:numRef>
          </c:cat>
          <c:val>
            <c:numRef>
              <c:f>Sheet1!$C$93:$C$243</c:f>
              <c:numCache>
                <c:formatCode>General</c:formatCode>
                <c:ptCount val="15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14A-45E8-87A1-7BD2345ADB4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75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43</c:f>
              <c:numCache>
                <c:formatCode>m/d/yyyy</c:formatCode>
                <c:ptCount val="151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</c:numCache>
            </c:numRef>
          </c:cat>
          <c:val>
            <c:numRef>
              <c:f>Sheet1!$D$93:$D$243</c:f>
              <c:numCache>
                <c:formatCode>General</c:formatCode>
                <c:ptCount val="151"/>
                <c:pt idx="121">
                  <c:v>7072</c:v>
                </c:pt>
                <c:pt idx="122">
                  <c:v>6671</c:v>
                </c:pt>
                <c:pt idx="123">
                  <c:v>6365</c:v>
                </c:pt>
                <c:pt idx="124">
                  <c:v>6121</c:v>
                </c:pt>
                <c:pt idx="125">
                  <c:v>5850</c:v>
                </c:pt>
                <c:pt idx="126">
                  <c:v>5564</c:v>
                </c:pt>
                <c:pt idx="127">
                  <c:v>5272</c:v>
                </c:pt>
                <c:pt idx="128">
                  <c:v>4978</c:v>
                </c:pt>
                <c:pt idx="129">
                  <c:v>4742</c:v>
                </c:pt>
                <c:pt idx="130">
                  <c:v>4530</c:v>
                </c:pt>
                <c:pt idx="131">
                  <c:v>4322</c:v>
                </c:pt>
                <c:pt idx="132">
                  <c:v>4106</c:v>
                </c:pt>
                <c:pt idx="133">
                  <c:v>3897</c:v>
                </c:pt>
                <c:pt idx="134">
                  <c:v>3703</c:v>
                </c:pt>
                <c:pt idx="135">
                  <c:v>3524</c:v>
                </c:pt>
                <c:pt idx="136">
                  <c:v>3361</c:v>
                </c:pt>
                <c:pt idx="137">
                  <c:v>3202</c:v>
                </c:pt>
                <c:pt idx="138">
                  <c:v>3047</c:v>
                </c:pt>
                <c:pt idx="139">
                  <c:v>2897</c:v>
                </c:pt>
                <c:pt idx="140">
                  <c:v>2757</c:v>
                </c:pt>
                <c:pt idx="141">
                  <c:v>2627</c:v>
                </c:pt>
                <c:pt idx="142">
                  <c:v>2503</c:v>
                </c:pt>
                <c:pt idx="143">
                  <c:v>2386</c:v>
                </c:pt>
                <c:pt idx="144">
                  <c:v>2273</c:v>
                </c:pt>
                <c:pt idx="145">
                  <c:v>2165</c:v>
                </c:pt>
                <c:pt idx="146">
                  <c:v>2064</c:v>
                </c:pt>
                <c:pt idx="147">
                  <c:v>1968</c:v>
                </c:pt>
                <c:pt idx="148">
                  <c:v>1877</c:v>
                </c:pt>
                <c:pt idx="149" formatCode="#,##0">
                  <c:v>1790</c:v>
                </c:pt>
                <c:pt idx="150" formatCode="#,##0">
                  <c:v>17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14A-45E8-87A1-7BD2345ADB46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0,85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43</c:f>
              <c:numCache>
                <c:formatCode>m/d/yyyy</c:formatCode>
                <c:ptCount val="151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</c:numCache>
            </c:numRef>
          </c:cat>
          <c:val>
            <c:numRef>
              <c:f>Sheet1!$E$93:$E$243</c:f>
              <c:numCache>
                <c:formatCode>General</c:formatCode>
                <c:ptCount val="151"/>
                <c:pt idx="121">
                  <c:v>7390</c:v>
                </c:pt>
                <c:pt idx="122">
                  <c:v>7175</c:v>
                </c:pt>
                <c:pt idx="123">
                  <c:v>6975</c:v>
                </c:pt>
                <c:pt idx="124">
                  <c:v>6789</c:v>
                </c:pt>
                <c:pt idx="125">
                  <c:v>6605</c:v>
                </c:pt>
                <c:pt idx="126">
                  <c:v>6422</c:v>
                </c:pt>
                <c:pt idx="127">
                  <c:v>6241</c:v>
                </c:pt>
                <c:pt idx="128">
                  <c:v>6063</c:v>
                </c:pt>
                <c:pt idx="129">
                  <c:v>5895</c:v>
                </c:pt>
                <c:pt idx="130">
                  <c:v>5735</c:v>
                </c:pt>
                <c:pt idx="131">
                  <c:v>5579</c:v>
                </c:pt>
                <c:pt idx="132">
                  <c:v>5425</c:v>
                </c:pt>
                <c:pt idx="133">
                  <c:v>5273</c:v>
                </c:pt>
                <c:pt idx="134">
                  <c:v>5128</c:v>
                </c:pt>
                <c:pt idx="135">
                  <c:v>4987</c:v>
                </c:pt>
                <c:pt idx="136">
                  <c:v>4851</c:v>
                </c:pt>
                <c:pt idx="137">
                  <c:v>4719</c:v>
                </c:pt>
                <c:pt idx="138">
                  <c:v>4590</c:v>
                </c:pt>
                <c:pt idx="139">
                  <c:v>4464</c:v>
                </c:pt>
                <c:pt idx="140">
                  <c:v>4343</c:v>
                </c:pt>
                <c:pt idx="141">
                  <c:v>4225</c:v>
                </c:pt>
                <c:pt idx="142">
                  <c:v>4110</c:v>
                </c:pt>
                <c:pt idx="143">
                  <c:v>3999</c:v>
                </c:pt>
                <c:pt idx="144">
                  <c:v>3891</c:v>
                </c:pt>
                <c:pt idx="145">
                  <c:v>3786</c:v>
                </c:pt>
                <c:pt idx="146">
                  <c:v>3684</c:v>
                </c:pt>
                <c:pt idx="147">
                  <c:v>3585</c:v>
                </c:pt>
                <c:pt idx="148">
                  <c:v>3489</c:v>
                </c:pt>
                <c:pt idx="149" formatCode="#,##0">
                  <c:v>3395</c:v>
                </c:pt>
                <c:pt idx="150" formatCode="#,##0">
                  <c:v>33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14A-45E8-87A1-7BD2345ADB46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0,95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43</c:f>
              <c:numCache>
                <c:formatCode>m/d/yyyy</c:formatCode>
                <c:ptCount val="151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</c:numCache>
            </c:numRef>
          </c:cat>
          <c:val>
            <c:numRef>
              <c:f>Sheet1!$F$93:$F$243</c:f>
              <c:numCache>
                <c:formatCode>General</c:formatCode>
                <c:ptCount val="151"/>
                <c:pt idx="121">
                  <c:v>7708</c:v>
                </c:pt>
                <c:pt idx="122">
                  <c:v>7680</c:v>
                </c:pt>
                <c:pt idx="123">
                  <c:v>7587</c:v>
                </c:pt>
                <c:pt idx="124">
                  <c:v>7458</c:v>
                </c:pt>
                <c:pt idx="125">
                  <c:v>7377</c:v>
                </c:pt>
                <c:pt idx="126">
                  <c:v>7321</c:v>
                </c:pt>
                <c:pt idx="127">
                  <c:v>7282</c:v>
                </c:pt>
                <c:pt idx="128">
                  <c:v>7253</c:v>
                </c:pt>
                <c:pt idx="129">
                  <c:v>7181</c:v>
                </c:pt>
                <c:pt idx="130">
                  <c:v>7099</c:v>
                </c:pt>
                <c:pt idx="131">
                  <c:v>7029</c:v>
                </c:pt>
                <c:pt idx="132">
                  <c:v>6981</c:v>
                </c:pt>
                <c:pt idx="133">
                  <c:v>6936</c:v>
                </c:pt>
                <c:pt idx="134">
                  <c:v>6884</c:v>
                </c:pt>
                <c:pt idx="135">
                  <c:v>6824</c:v>
                </c:pt>
                <c:pt idx="136">
                  <c:v>6760</c:v>
                </c:pt>
                <c:pt idx="137">
                  <c:v>6702</c:v>
                </c:pt>
                <c:pt idx="138">
                  <c:v>6651</c:v>
                </c:pt>
                <c:pt idx="139">
                  <c:v>6603</c:v>
                </c:pt>
                <c:pt idx="140">
                  <c:v>6550</c:v>
                </c:pt>
                <c:pt idx="141">
                  <c:v>6494</c:v>
                </c:pt>
                <c:pt idx="142">
                  <c:v>6439</c:v>
                </c:pt>
                <c:pt idx="143">
                  <c:v>6387</c:v>
                </c:pt>
                <c:pt idx="144">
                  <c:v>6337</c:v>
                </c:pt>
                <c:pt idx="145">
                  <c:v>6287</c:v>
                </c:pt>
                <c:pt idx="146">
                  <c:v>6237</c:v>
                </c:pt>
                <c:pt idx="147">
                  <c:v>6186</c:v>
                </c:pt>
                <c:pt idx="148">
                  <c:v>6136</c:v>
                </c:pt>
                <c:pt idx="149" formatCode="#,##0">
                  <c:v>6086</c:v>
                </c:pt>
                <c:pt idx="150" formatCode="#,##0">
                  <c:v>60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14A-45E8-87A1-7BD2345ADB46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43</c:f>
              <c:numCache>
                <c:formatCode>m/d/yyyy</c:formatCode>
                <c:ptCount val="151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</c:numCache>
            </c:numRef>
          </c:cat>
          <c:val>
            <c:numRef>
              <c:f>Sheet1!$G$93:$G$243</c:f>
              <c:numCache>
                <c:formatCode>General</c:formatCode>
                <c:ptCount val="151"/>
                <c:pt idx="121">
                  <c:v>8186</c:v>
                </c:pt>
                <c:pt idx="122">
                  <c:v>8437</c:v>
                </c:pt>
                <c:pt idx="123">
                  <c:v>8503</c:v>
                </c:pt>
                <c:pt idx="124">
                  <c:v>8460</c:v>
                </c:pt>
                <c:pt idx="125">
                  <c:v>8563</c:v>
                </c:pt>
                <c:pt idx="126">
                  <c:v>8747</c:v>
                </c:pt>
                <c:pt idx="127">
                  <c:v>8978</c:v>
                </c:pt>
                <c:pt idx="128">
                  <c:v>9236</c:v>
                </c:pt>
                <c:pt idx="129">
                  <c:v>9355</c:v>
                </c:pt>
                <c:pt idx="130">
                  <c:v>9451</c:v>
                </c:pt>
                <c:pt idx="131">
                  <c:v>9588</c:v>
                </c:pt>
                <c:pt idx="132">
                  <c:v>9804</c:v>
                </c:pt>
                <c:pt idx="133">
                  <c:v>10024</c:v>
                </c:pt>
                <c:pt idx="134">
                  <c:v>10219</c:v>
                </c:pt>
                <c:pt idx="135">
                  <c:v>10388</c:v>
                </c:pt>
                <c:pt idx="136">
                  <c:v>10545</c:v>
                </c:pt>
                <c:pt idx="137">
                  <c:v>10729</c:v>
                </c:pt>
                <c:pt idx="138">
                  <c:v>10941</c:v>
                </c:pt>
                <c:pt idx="139">
                  <c:v>11161</c:v>
                </c:pt>
                <c:pt idx="140">
                  <c:v>11364</c:v>
                </c:pt>
                <c:pt idx="141">
                  <c:v>11559</c:v>
                </c:pt>
                <c:pt idx="142">
                  <c:v>11757</c:v>
                </c:pt>
                <c:pt idx="143">
                  <c:v>11970</c:v>
                </c:pt>
                <c:pt idx="144">
                  <c:v>12195</c:v>
                </c:pt>
                <c:pt idx="145">
                  <c:v>12423</c:v>
                </c:pt>
                <c:pt idx="146">
                  <c:v>12648</c:v>
                </c:pt>
                <c:pt idx="147">
                  <c:v>12871</c:v>
                </c:pt>
                <c:pt idx="148">
                  <c:v>13098</c:v>
                </c:pt>
                <c:pt idx="149" formatCode="#,##0">
                  <c:v>13336</c:v>
                </c:pt>
                <c:pt idx="150" formatCode="#,##0">
                  <c:v>135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25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50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2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G$2:$G$107</c:f>
              <c:numCache>
                <c:formatCode>General</c:formatCode>
                <c:ptCount val="106"/>
                <c:pt idx="0">
                  <c:v>1170</c:v>
                </c:pt>
                <c:pt idx="1">
                  <c:v>1213</c:v>
                </c:pt>
                <c:pt idx="2">
                  <c:v>1241</c:v>
                </c:pt>
                <c:pt idx="3">
                  <c:v>1266</c:v>
                </c:pt>
                <c:pt idx="4">
                  <c:v>1270</c:v>
                </c:pt>
                <c:pt idx="5">
                  <c:v>1269</c:v>
                </c:pt>
                <c:pt idx="6">
                  <c:v>1282</c:v>
                </c:pt>
                <c:pt idx="7">
                  <c:v>1362</c:v>
                </c:pt>
                <c:pt idx="8">
                  <c:v>1391</c:v>
                </c:pt>
                <c:pt idx="9">
                  <c:v>1410</c:v>
                </c:pt>
                <c:pt idx="10">
                  <c:v>1463</c:v>
                </c:pt>
                <c:pt idx="11">
                  <c:v>1438</c:v>
                </c:pt>
                <c:pt idx="12">
                  <c:v>1465</c:v>
                </c:pt>
                <c:pt idx="13">
                  <c:v>1502</c:v>
                </c:pt>
                <c:pt idx="14">
                  <c:v>1585</c:v>
                </c:pt>
                <c:pt idx="15">
                  <c:v>1597</c:v>
                </c:pt>
                <c:pt idx="16">
                  <c:v>1624</c:v>
                </c:pt>
                <c:pt idx="17">
                  <c:v>1650</c:v>
                </c:pt>
                <c:pt idx="18">
                  <c:v>1670</c:v>
                </c:pt>
                <c:pt idx="19">
                  <c:v>1674</c:v>
                </c:pt>
                <c:pt idx="20">
                  <c:v>1676</c:v>
                </c:pt>
                <c:pt idx="21">
                  <c:v>1772</c:v>
                </c:pt>
                <c:pt idx="22">
                  <c:v>1802</c:v>
                </c:pt>
                <c:pt idx="23">
                  <c:v>1832</c:v>
                </c:pt>
                <c:pt idx="24">
                  <c:v>1821</c:v>
                </c:pt>
                <c:pt idx="25">
                  <c:v>1833</c:v>
                </c:pt>
                <c:pt idx="26">
                  <c:v>1781</c:v>
                </c:pt>
                <c:pt idx="27">
                  <c:v>1828</c:v>
                </c:pt>
                <c:pt idx="28">
                  <c:v>1885</c:v>
                </c:pt>
                <c:pt idx="29">
                  <c:v>1892</c:v>
                </c:pt>
                <c:pt idx="30">
                  <c:v>1861</c:v>
                </c:pt>
                <c:pt idx="31">
                  <c:v>1861</c:v>
                </c:pt>
                <c:pt idx="32">
                  <c:v>1821</c:v>
                </c:pt>
                <c:pt idx="33">
                  <c:v>1782</c:v>
                </c:pt>
                <c:pt idx="34">
                  <c:v>1806</c:v>
                </c:pt>
                <c:pt idx="35">
                  <c:v>1826</c:v>
                </c:pt>
                <c:pt idx="36">
                  <c:v>1778</c:v>
                </c:pt>
                <c:pt idx="37">
                  <c:v>1747</c:v>
                </c:pt>
                <c:pt idx="38">
                  <c:v>1745</c:v>
                </c:pt>
                <c:pt idx="39">
                  <c:v>1683</c:v>
                </c:pt>
                <c:pt idx="40">
                  <c:v>1647</c:v>
                </c:pt>
                <c:pt idx="41">
                  <c:v>1658</c:v>
                </c:pt>
                <c:pt idx="42">
                  <c:v>1668</c:v>
                </c:pt>
                <c:pt idx="43">
                  <c:v>1619</c:v>
                </c:pt>
                <c:pt idx="44">
                  <c:v>1560</c:v>
                </c:pt>
                <c:pt idx="45">
                  <c:v>1513</c:v>
                </c:pt>
                <c:pt idx="46">
                  <c:v>1430</c:v>
                </c:pt>
                <c:pt idx="47">
                  <c:v>1405</c:v>
                </c:pt>
                <c:pt idx="48">
                  <c:v>1385</c:v>
                </c:pt>
                <c:pt idx="49">
                  <c:v>1353</c:v>
                </c:pt>
                <c:pt idx="50">
                  <c:v>1405</c:v>
                </c:pt>
                <c:pt idx="51">
                  <c:v>1374</c:v>
                </c:pt>
                <c:pt idx="52">
                  <c:v>1328</c:v>
                </c:pt>
                <c:pt idx="53">
                  <c:v>1249</c:v>
                </c:pt>
                <c:pt idx="54">
                  <c:v>1233</c:v>
                </c:pt>
                <c:pt idx="55">
                  <c:v>1216</c:v>
                </c:pt>
                <c:pt idx="56">
                  <c:v>1203</c:v>
                </c:pt>
                <c:pt idx="57">
                  <c:v>1177</c:v>
                </c:pt>
                <c:pt idx="58">
                  <c:v>1133</c:v>
                </c:pt>
                <c:pt idx="59">
                  <c:v>1054</c:v>
                </c:pt>
                <c:pt idx="60">
                  <c:v>1032</c:v>
                </c:pt>
                <c:pt idx="61">
                  <c:v>991</c:v>
                </c:pt>
                <c:pt idx="62">
                  <c:v>995</c:v>
                </c:pt>
                <c:pt idx="63">
                  <c:v>1012</c:v>
                </c:pt>
                <c:pt idx="64">
                  <c:v>961</c:v>
                </c:pt>
                <c:pt idx="65">
                  <c:v>919</c:v>
                </c:pt>
                <c:pt idx="66">
                  <c:v>819</c:v>
                </c:pt>
                <c:pt idx="67">
                  <c:v>773</c:v>
                </c:pt>
                <c:pt idx="68">
                  <c:v>7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AE2-42EA-A44F-23A358B5B2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3"/>
          <c:order val="0"/>
          <c:tx>
            <c:strRef>
              <c:f>Sheet1!$E$1</c:f>
              <c:strCache>
                <c:ptCount val="1"/>
                <c:pt idx="0">
                  <c:v>I</c:v>
                </c:pt>
              </c:strCache>
            </c:strRef>
          </c:tx>
          <c:spPr>
            <a:ln w="28575" cap="rnd">
              <a:solidFill>
                <a:srgbClr val="305983"/>
              </a:solidFill>
              <a:round/>
            </a:ln>
            <a:effectLst/>
          </c:spPr>
          <c:marker>
            <c:symbol val="none"/>
          </c:marker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E$2:$E$107</c:f>
              <c:numCache>
                <c:formatCode>General</c:formatCode>
                <c:ptCount val="106"/>
                <c:pt idx="10">
                  <c:v>1489.0133582381427</c:v>
                </c:pt>
                <c:pt idx="11">
                  <c:v>1536.6585710758609</c:v>
                </c:pt>
                <c:pt idx="12">
                  <c:v>1586.3104547602886</c:v>
                </c:pt>
                <c:pt idx="13">
                  <c:v>1638.7589873652551</c:v>
                </c:pt>
                <c:pt idx="14">
                  <c:v>1693.523085677781</c:v>
                </c:pt>
                <c:pt idx="15">
                  <c:v>1749.3825945983685</c:v>
                </c:pt>
                <c:pt idx="16">
                  <c:v>1806.1384933227346</c:v>
                </c:pt>
                <c:pt idx="17">
                  <c:v>1862.4414149520505</c:v>
                </c:pt>
                <c:pt idx="18">
                  <c:v>1916.7861251052313</c:v>
                </c:pt>
                <c:pt idx="19">
                  <c:v>1969.1167545968406</c:v>
                </c:pt>
                <c:pt idx="20">
                  <c:v>2019.361583830326</c:v>
                </c:pt>
                <c:pt idx="21">
                  <c:v>2066.5817071413694</c:v>
                </c:pt>
                <c:pt idx="22">
                  <c:v>2110.3087143467642</c:v>
                </c:pt>
                <c:pt idx="23">
                  <c:v>2150.6648585453836</c:v>
                </c:pt>
                <c:pt idx="24">
                  <c:v>2187.8941664819549</c:v>
                </c:pt>
                <c:pt idx="25">
                  <c:v>2222.2044664862956</c:v>
                </c:pt>
                <c:pt idx="26">
                  <c:v>2253.6071247603572</c:v>
                </c:pt>
                <c:pt idx="27">
                  <c:v>2282.0047982718852</c:v>
                </c:pt>
                <c:pt idx="28">
                  <c:v>2307.1696095755715</c:v>
                </c:pt>
                <c:pt idx="29">
                  <c:v>2329.2269691809834</c:v>
                </c:pt>
                <c:pt idx="30">
                  <c:v>2348.3981570852975</c:v>
                </c:pt>
                <c:pt idx="31">
                  <c:v>2364.8274775730456</c:v>
                </c:pt>
                <c:pt idx="32">
                  <c:v>2378.5807712925471</c:v>
                </c:pt>
                <c:pt idx="33">
                  <c:v>2389.8076447026392</c:v>
                </c:pt>
                <c:pt idx="34">
                  <c:v>2398.702609290754</c:v>
                </c:pt>
                <c:pt idx="35">
                  <c:v>2405.3090688519924</c:v>
                </c:pt>
                <c:pt idx="36">
                  <c:v>2409.7572223255302</c:v>
                </c:pt>
                <c:pt idx="37">
                  <c:v>2412.1534000248585</c:v>
                </c:pt>
                <c:pt idx="38">
                  <c:v>2412.5596992266123</c:v>
                </c:pt>
                <c:pt idx="39">
                  <c:v>2411.1070888266368</c:v>
                </c:pt>
                <c:pt idx="40">
                  <c:v>2407.9286510796333</c:v>
                </c:pt>
                <c:pt idx="41">
                  <c:v>2403.0869531614171</c:v>
                </c:pt>
                <c:pt idx="42">
                  <c:v>2396.6420073806648</c:v>
                </c:pt>
                <c:pt idx="43">
                  <c:v>2388.6872474238439</c:v>
                </c:pt>
                <c:pt idx="44">
                  <c:v>2379.2839086213148</c:v>
                </c:pt>
                <c:pt idx="45">
                  <c:v>2368.4948749344403</c:v>
                </c:pt>
                <c:pt idx="46">
                  <c:v>2356.4078473510149</c:v>
                </c:pt>
                <c:pt idx="47">
                  <c:v>2343.0734068450347</c:v>
                </c:pt>
                <c:pt idx="48">
                  <c:v>2329.1497022912918</c:v>
                </c:pt>
                <c:pt idx="49">
                  <c:v>2314.6955163245343</c:v>
                </c:pt>
                <c:pt idx="50">
                  <c:v>2299.7458731795346</c:v>
                </c:pt>
                <c:pt idx="51">
                  <c:v>2284.348412797844</c:v>
                </c:pt>
                <c:pt idx="52">
                  <c:v>2268.5494810288283</c:v>
                </c:pt>
                <c:pt idx="53">
                  <c:v>2252.3931607174782</c:v>
                </c:pt>
                <c:pt idx="54">
                  <c:v>2235.9259012830057</c:v>
                </c:pt>
                <c:pt idx="55">
                  <c:v>2219.1870040844642</c:v>
                </c:pt>
                <c:pt idx="56">
                  <c:v>2202.2085442544321</c:v>
                </c:pt>
                <c:pt idx="57">
                  <c:v>2185.0146153057758</c:v>
                </c:pt>
                <c:pt idx="58">
                  <c:v>2167.6281263820679</c:v>
                </c:pt>
                <c:pt idx="59">
                  <c:v>2150.0741641454019</c:v>
                </c:pt>
                <c:pt idx="60">
                  <c:v>2132.3831961562933</c:v>
                </c:pt>
                <c:pt idx="61">
                  <c:v>2114.5896199441631</c:v>
                </c:pt>
                <c:pt idx="62">
                  <c:v>2096.7092931008642</c:v>
                </c:pt>
                <c:pt idx="63">
                  <c:v>2078.7607832385324</c:v>
                </c:pt>
                <c:pt idx="64">
                  <c:v>2060.7723134224748</c:v>
                </c:pt>
                <c:pt idx="65">
                  <c:v>2042.7571546435847</c:v>
                </c:pt>
                <c:pt idx="66">
                  <c:v>2024.7250447700098</c:v>
                </c:pt>
                <c:pt idx="67">
                  <c:v>2006.6950739536239</c:v>
                </c:pt>
                <c:pt idx="68">
                  <c:v>1988.6871744209366</c:v>
                </c:pt>
                <c:pt idx="69">
                  <c:v>1970.7128970244712</c:v>
                </c:pt>
                <c:pt idx="70">
                  <c:v>1952.7848083892427</c:v>
                </c:pt>
                <c:pt idx="71">
                  <c:v>1934.9163262632803</c:v>
                </c:pt>
                <c:pt idx="72">
                  <c:v>1917.1185536922528</c:v>
                </c:pt>
                <c:pt idx="73">
                  <c:v>1899.4016265065738</c:v>
                </c:pt>
                <c:pt idx="74">
                  <c:v>1881.7749528868362</c:v>
                </c:pt>
                <c:pt idx="75">
                  <c:v>1864.2472050336164</c:v>
                </c:pt>
                <c:pt idx="76">
                  <c:v>1846.8262084778439</c:v>
                </c:pt>
                <c:pt idx="77">
                  <c:v>1829.5190348033725</c:v>
                </c:pt>
                <c:pt idx="78">
                  <c:v>1812.3320345450568</c:v>
                </c:pt>
                <c:pt idx="79">
                  <c:v>1795.2707989246978</c:v>
                </c:pt>
                <c:pt idx="80">
                  <c:v>1778.3402521878743</c:v>
                </c:pt>
                <c:pt idx="81">
                  <c:v>1761.5447009916561</c:v>
                </c:pt>
                <c:pt idx="82">
                  <c:v>1744.8878432079011</c:v>
                </c:pt>
                <c:pt idx="83">
                  <c:v>1728.3728069481469</c:v>
                </c:pt>
                <c:pt idx="84">
                  <c:v>1712.0021937198203</c:v>
                </c:pt>
                <c:pt idx="85">
                  <c:v>1695.7780965190041</c:v>
                </c:pt>
                <c:pt idx="86">
                  <c:v>1679.7021083152752</c:v>
                </c:pt>
                <c:pt idx="87">
                  <c:v>1663.7753661548199</c:v>
                </c:pt>
                <c:pt idx="88">
                  <c:v>1647.9985905555657</c:v>
                </c:pt>
                <c:pt idx="89">
                  <c:v>1632.372115994777</c:v>
                </c:pt>
                <c:pt idx="90">
                  <c:v>1616.8959123403911</c:v>
                </c:pt>
                <c:pt idx="91">
                  <c:v>1601.5696045297864</c:v>
                </c:pt>
                <c:pt idx="92">
                  <c:v>1586.3925059786125</c:v>
                </c:pt>
                <c:pt idx="93">
                  <c:v>1571.3636421537481</c:v>
                </c:pt>
                <c:pt idx="94">
                  <c:v>1556.4817712153681</c:v>
                </c:pt>
                <c:pt idx="95">
                  <c:v>1541.7454102369252</c:v>
                </c:pt>
                <c:pt idx="96">
                  <c:v>1527.1528618889179</c:v>
                </c:pt>
                <c:pt idx="97">
                  <c:v>1512.7022390676784</c:v>
                </c:pt>
                <c:pt idx="98">
                  <c:v>1498.3914844767855</c:v>
                </c:pt>
                <c:pt idx="99">
                  <c:v>1484.2183880766661</c:v>
                </c:pt>
                <c:pt idx="100">
                  <c:v>1470.1806087597527</c:v>
                </c:pt>
                <c:pt idx="101">
                  <c:v>1456.2756952663613</c:v>
                </c:pt>
                <c:pt idx="102">
                  <c:v>1442.501103792124</c:v>
                </c:pt>
                <c:pt idx="103">
                  <c:v>1428.8542155778123</c:v>
                </c:pt>
                <c:pt idx="104">
                  <c:v>1415.3323535467998</c:v>
                </c:pt>
                <c:pt idx="105">
                  <c:v>1401.93279801088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DAE2-42EA-A44F-23A358B5B2EF}"/>
            </c:ext>
          </c:extLst>
        </c:ser>
        <c:ser>
          <c:idx val="4"/>
          <c:order val="1"/>
          <c:tx>
            <c:strRef>
              <c:f>Sheet1!$F$1</c:f>
              <c:strCache>
                <c:ptCount val="1"/>
                <c:pt idx="0">
                  <c:v>II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F$2:$F$107</c:f>
              <c:numCache>
                <c:formatCode>General</c:formatCode>
                <c:ptCount val="106"/>
                <c:pt idx="10">
                  <c:v>1489.0133582381427</c:v>
                </c:pt>
                <c:pt idx="11">
                  <c:v>1536.6585710758609</c:v>
                </c:pt>
                <c:pt idx="12">
                  <c:v>1585.5007310874776</c:v>
                </c:pt>
                <c:pt idx="13">
                  <c:v>1635.7681414344906</c:v>
                </c:pt>
                <c:pt idx="14">
                  <c:v>1686.6459413709727</c:v>
                </c:pt>
                <c:pt idx="15">
                  <c:v>1736.6972062994382</c:v>
                </c:pt>
                <c:pt idx="16">
                  <c:v>1785.5668310482292</c:v>
                </c:pt>
                <c:pt idx="17">
                  <c:v>1831.7803073311661</c:v>
                </c:pt>
                <c:pt idx="18">
                  <c:v>1873.7327383444128</c:v>
                </c:pt>
                <c:pt idx="19">
                  <c:v>1911.3017099485949</c:v>
                </c:pt>
                <c:pt idx="20">
                  <c:v>1944.3998321745607</c:v>
                </c:pt>
                <c:pt idx="21">
                  <c:v>1972.1209077789231</c:v>
                </c:pt>
                <c:pt idx="22">
                  <c:v>1994.0819013153232</c:v>
                </c:pt>
                <c:pt idx="23">
                  <c:v>2010.5444498965285</c:v>
                </c:pt>
                <c:pt idx="24">
                  <c:v>2021.9285856149725</c:v>
                </c:pt>
                <c:pt idx="25">
                  <c:v>2028.6357887529773</c:v>
                </c:pt>
                <c:pt idx="26">
                  <c:v>2030.8819785750802</c:v>
                </c:pt>
                <c:pt idx="27">
                  <c:v>2028.7826740386824</c:v>
                </c:pt>
                <c:pt idx="28">
                  <c:v>2022.3257505588208</c:v>
                </c:pt>
                <c:pt idx="29">
                  <c:v>2011.8501062717439</c:v>
                </c:pt>
                <c:pt idx="30">
                  <c:v>1997.7838124829086</c:v>
                </c:pt>
                <c:pt idx="31">
                  <c:v>1980.4702853067292</c:v>
                </c:pt>
                <c:pt idx="32">
                  <c:v>1960.1674757716457</c:v>
                </c:pt>
                <c:pt idx="33">
                  <c:v>1937.2111266774778</c:v>
                </c:pt>
                <c:pt idx="34">
                  <c:v>1911.9733800059585</c:v>
                </c:pt>
                <c:pt idx="35">
                  <c:v>1884.6620217178938</c:v>
                </c:pt>
                <c:pt idx="36">
                  <c:v>1855.5572428842452</c:v>
                </c:pt>
                <c:pt idx="37">
                  <c:v>1824.9018650836254</c:v>
                </c:pt>
                <c:pt idx="38">
                  <c:v>1792.882626471993</c:v>
                </c:pt>
                <c:pt idx="39">
                  <c:v>1759.7429516427958</c:v>
                </c:pt>
                <c:pt idx="40">
                  <c:v>1725.7172894635737</c:v>
                </c:pt>
                <c:pt idx="41">
                  <c:v>1690.9588133222865</c:v>
                </c:pt>
                <c:pt idx="42">
                  <c:v>1655.6076905676955</c:v>
                </c:pt>
                <c:pt idx="43">
                  <c:v>1619.8279713073875</c:v>
                </c:pt>
                <c:pt idx="44">
                  <c:v>1583.7418073526183</c:v>
                </c:pt>
                <c:pt idx="45">
                  <c:v>1547.4637668883981</c:v>
                </c:pt>
                <c:pt idx="46">
                  <c:v>1511.1247525038402</c:v>
                </c:pt>
                <c:pt idx="47">
                  <c:v>1474.8108836935994</c:v>
                </c:pt>
                <c:pt idx="48">
                  <c:v>1438.978144907865</c:v>
                </c:pt>
                <c:pt idx="49">
                  <c:v>1403.6856794304822</c:v>
                </c:pt>
                <c:pt idx="50">
                  <c:v>1368.9641255580555</c:v>
                </c:pt>
                <c:pt idx="51">
                  <c:v>1334.852478302394</c:v>
                </c:pt>
                <c:pt idx="52">
                  <c:v>1301.3848468994026</c:v>
                </c:pt>
                <c:pt idx="53">
                  <c:v>1268.5899520742094</c:v>
                </c:pt>
                <c:pt idx="54">
                  <c:v>1236.4961425531139</c:v>
                </c:pt>
                <c:pt idx="55">
                  <c:v>1205.1223348463179</c:v>
                </c:pt>
                <c:pt idx="56">
                  <c:v>1174.4781906348851</c:v>
                </c:pt>
                <c:pt idx="57">
                  <c:v>1144.5636430592238</c:v>
                </c:pt>
                <c:pt idx="58">
                  <c:v>1115.3760255407503</c:v>
                </c:pt>
                <c:pt idx="59">
                  <c:v>1086.9137153317949</c:v>
                </c:pt>
                <c:pt idx="60">
                  <c:v>1059.1795853458041</c:v>
                </c:pt>
                <c:pt idx="61">
                  <c:v>1032.1797728807048</c:v>
                </c:pt>
                <c:pt idx="62">
                  <c:v>1005.9014830149531</c:v>
                </c:pt>
                <c:pt idx="63">
                  <c:v>980.33444333597527</c:v>
                </c:pt>
                <c:pt idx="64">
                  <c:v>955.47794715360544</c:v>
                </c:pt>
                <c:pt idx="65">
                  <c:v>931.31629456528026</c:v>
                </c:pt>
                <c:pt idx="66">
                  <c:v>907.83031536295243</c:v>
                </c:pt>
                <c:pt idx="67">
                  <c:v>885.01042587297877</c:v>
                </c:pt>
                <c:pt idx="68">
                  <c:v>862.84830857946042</c:v>
                </c:pt>
                <c:pt idx="69">
                  <c:v>841.32769772791039</c:v>
                </c:pt>
                <c:pt idx="70">
                  <c:v>820.43388213007427</c:v>
                </c:pt>
                <c:pt idx="71">
                  <c:v>800.15362797435125</c:v>
                </c:pt>
                <c:pt idx="72">
                  <c:v>780.47204692781702</c:v>
                </c:pt>
                <c:pt idx="73">
                  <c:v>761.3739126944937</c:v>
                </c:pt>
                <c:pt idx="74">
                  <c:v>742.84395975791608</c:v>
                </c:pt>
                <c:pt idx="75">
                  <c:v>724.8669258459546</c:v>
                </c:pt>
                <c:pt idx="76">
                  <c:v>707.42747314644134</c:v>
                </c:pt>
                <c:pt idx="77">
                  <c:v>690.51030326744535</c:v>
                </c:pt>
                <c:pt idx="78">
                  <c:v>674.1002036100906</c:v>
                </c:pt>
                <c:pt idx="79">
                  <c:v>658.18201618577052</c:v>
                </c:pt>
                <c:pt idx="80">
                  <c:v>642.74073241279882</c:v>
                </c:pt>
                <c:pt idx="81">
                  <c:v>627.7615427830001</c:v>
                </c:pt>
                <c:pt idx="82">
                  <c:v>613.22984192190586</c:v>
                </c:pt>
                <c:pt idx="83">
                  <c:v>599.13126088307354</c:v>
                </c:pt>
                <c:pt idx="84">
                  <c:v>585.45170081012486</c:v>
                </c:pt>
                <c:pt idx="85">
                  <c:v>572.17733825163918</c:v>
                </c:pt>
                <c:pt idx="86">
                  <c:v>559.2946185141767</c:v>
                </c:pt>
                <c:pt idx="87">
                  <c:v>546.79028237164289</c:v>
                </c:pt>
                <c:pt idx="88">
                  <c:v>534.65138618450135</c:v>
                </c:pt>
                <c:pt idx="89">
                  <c:v>522.86531136030715</c:v>
                </c:pt>
                <c:pt idx="90">
                  <c:v>511.41976355112138</c:v>
                </c:pt>
                <c:pt idx="91">
                  <c:v>500.3027691616474</c:v>
                </c:pt>
                <c:pt idx="92">
                  <c:v>489.50268449461419</c:v>
                </c:pt>
                <c:pt idx="93">
                  <c:v>479.00819446693669</c:v>
                </c:pt>
                <c:pt idx="94">
                  <c:v>468.80830776803589</c:v>
                </c:pt>
                <c:pt idx="95">
                  <c:v>458.89235747870634</c:v>
                </c:pt>
                <c:pt idx="96">
                  <c:v>449.25000202330295</c:v>
                </c:pt>
                <c:pt idx="97">
                  <c:v>439.87122399093863</c:v>
                </c:pt>
                <c:pt idx="98">
                  <c:v>430.7463241138131</c:v>
                </c:pt>
                <c:pt idx="99">
                  <c:v>421.86591335833612</c:v>
                </c:pt>
                <c:pt idx="100">
                  <c:v>413.22090957970408</c:v>
                </c:pt>
                <c:pt idx="101">
                  <c:v>404.80253383784827</c:v>
                </c:pt>
                <c:pt idx="102">
                  <c:v>396.60230392755659</c:v>
                </c:pt>
                <c:pt idx="103">
                  <c:v>388.61202849471664</c:v>
                </c:pt>
                <c:pt idx="104">
                  <c:v>380.82380090155664</c:v>
                </c:pt>
                <c:pt idx="105">
                  <c:v>373.229992856180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AE2-42EA-A44F-23A358B5B2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</c:date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20000242690338468"/>
          <c:y val="4.6874997116449491E-2"/>
          <c:w val="0.63135654138833119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3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G$2:$G$107</c:f>
              <c:numCache>
                <c:formatCode>General</c:formatCode>
                <c:ptCount val="106"/>
                <c:pt idx="0">
                  <c:v>713</c:v>
                </c:pt>
                <c:pt idx="1">
                  <c:v>754</c:v>
                </c:pt>
                <c:pt idx="2">
                  <c:v>798</c:v>
                </c:pt>
                <c:pt idx="3">
                  <c:v>726</c:v>
                </c:pt>
                <c:pt idx="4">
                  <c:v>774</c:v>
                </c:pt>
                <c:pt idx="5">
                  <c:v>558</c:v>
                </c:pt>
                <c:pt idx="6">
                  <c:v>591</c:v>
                </c:pt>
                <c:pt idx="7">
                  <c:v>919</c:v>
                </c:pt>
                <c:pt idx="8">
                  <c:v>841</c:v>
                </c:pt>
                <c:pt idx="9">
                  <c:v>837</c:v>
                </c:pt>
                <c:pt idx="10">
                  <c:v>913</c:v>
                </c:pt>
                <c:pt idx="11">
                  <c:v>890</c:v>
                </c:pt>
                <c:pt idx="12">
                  <c:v>711</c:v>
                </c:pt>
                <c:pt idx="13">
                  <c:v>646</c:v>
                </c:pt>
                <c:pt idx="14">
                  <c:v>1144</c:v>
                </c:pt>
                <c:pt idx="15">
                  <c:v>1040</c:v>
                </c:pt>
                <c:pt idx="16">
                  <c:v>859</c:v>
                </c:pt>
                <c:pt idx="17">
                  <c:v>912</c:v>
                </c:pt>
                <c:pt idx="18">
                  <c:v>901</c:v>
                </c:pt>
                <c:pt idx="19">
                  <c:v>743</c:v>
                </c:pt>
                <c:pt idx="20">
                  <c:v>713</c:v>
                </c:pt>
                <c:pt idx="21">
                  <c:v>1036</c:v>
                </c:pt>
                <c:pt idx="22">
                  <c:v>977</c:v>
                </c:pt>
                <c:pt idx="23">
                  <c:v>1026</c:v>
                </c:pt>
                <c:pt idx="24">
                  <c:v>928</c:v>
                </c:pt>
                <c:pt idx="25">
                  <c:v>969</c:v>
                </c:pt>
                <c:pt idx="26">
                  <c:v>746</c:v>
                </c:pt>
                <c:pt idx="27">
                  <c:v>652</c:v>
                </c:pt>
                <c:pt idx="28">
                  <c:v>1027</c:v>
                </c:pt>
                <c:pt idx="29">
                  <c:v>920</c:v>
                </c:pt>
                <c:pt idx="30">
                  <c:v>871</c:v>
                </c:pt>
                <c:pt idx="31">
                  <c:v>811</c:v>
                </c:pt>
                <c:pt idx="32">
                  <c:v>809</c:v>
                </c:pt>
                <c:pt idx="33">
                  <c:v>558</c:v>
                </c:pt>
                <c:pt idx="34">
                  <c:v>564</c:v>
                </c:pt>
                <c:pt idx="35">
                  <c:v>930</c:v>
                </c:pt>
                <c:pt idx="36">
                  <c:v>764</c:v>
                </c:pt>
                <c:pt idx="37">
                  <c:v>743</c:v>
                </c:pt>
                <c:pt idx="38">
                  <c:v>729</c:v>
                </c:pt>
                <c:pt idx="39">
                  <c:v>708</c:v>
                </c:pt>
                <c:pt idx="40">
                  <c:v>561</c:v>
                </c:pt>
                <c:pt idx="41">
                  <c:v>495</c:v>
                </c:pt>
                <c:pt idx="42">
                  <c:v>788</c:v>
                </c:pt>
                <c:pt idx="43">
                  <c:v>656</c:v>
                </c:pt>
                <c:pt idx="44">
                  <c:v>655</c:v>
                </c:pt>
                <c:pt idx="45">
                  <c:v>619</c:v>
                </c:pt>
                <c:pt idx="46">
                  <c:v>507</c:v>
                </c:pt>
                <c:pt idx="47">
                  <c:v>473</c:v>
                </c:pt>
                <c:pt idx="48">
                  <c:v>445</c:v>
                </c:pt>
                <c:pt idx="49">
                  <c:v>368</c:v>
                </c:pt>
                <c:pt idx="50">
                  <c:v>638</c:v>
                </c:pt>
                <c:pt idx="51">
                  <c:v>518</c:v>
                </c:pt>
                <c:pt idx="52">
                  <c:v>431</c:v>
                </c:pt>
                <c:pt idx="53">
                  <c:v>478</c:v>
                </c:pt>
                <c:pt idx="54">
                  <c:v>304</c:v>
                </c:pt>
                <c:pt idx="55">
                  <c:v>281</c:v>
                </c:pt>
                <c:pt idx="56">
                  <c:v>413</c:v>
                </c:pt>
                <c:pt idx="57">
                  <c:v>375</c:v>
                </c:pt>
                <c:pt idx="58">
                  <c:v>385</c:v>
                </c:pt>
                <c:pt idx="59">
                  <c:v>350</c:v>
                </c:pt>
                <c:pt idx="60">
                  <c:v>341</c:v>
                </c:pt>
                <c:pt idx="61">
                  <c:v>262</c:v>
                </c:pt>
                <c:pt idx="62">
                  <c:v>233</c:v>
                </c:pt>
                <c:pt idx="63">
                  <c:v>350</c:v>
                </c:pt>
                <c:pt idx="64">
                  <c:v>327</c:v>
                </c:pt>
                <c:pt idx="65">
                  <c:v>327</c:v>
                </c:pt>
                <c:pt idx="66">
                  <c:v>258</c:v>
                </c:pt>
                <c:pt idx="67">
                  <c:v>224</c:v>
                </c:pt>
                <c:pt idx="68">
                  <c:v>1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D60-4826-BB40-4469263427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2"/>
          <c:order val="0"/>
          <c:tx>
            <c:strRef>
              <c:f>Sheet1!$D$1</c:f>
              <c:strCache>
                <c:ptCount val="1"/>
                <c:pt idx="0">
                  <c:v>V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D$2:$D$107</c:f>
              <c:numCache>
                <c:formatCode>General</c:formatCode>
                <c:ptCount val="106"/>
                <c:pt idx="10">
                  <c:v>884.38390631374205</c:v>
                </c:pt>
                <c:pt idx="11">
                  <c:v>903.6086874591856</c:v>
                </c:pt>
                <c:pt idx="12">
                  <c:v>924.08261141896946</c:v>
                </c:pt>
                <c:pt idx="13">
                  <c:v>945.89512726065004</c:v>
                </c:pt>
                <c:pt idx="14">
                  <c:v>967.35277248696366</c:v>
                </c:pt>
                <c:pt idx="15">
                  <c:v>982.36031537214876</c:v>
                </c:pt>
                <c:pt idx="16">
                  <c:v>992.01054728229064</c:v>
                </c:pt>
                <c:pt idx="17">
                  <c:v>998.06001514534</c:v>
                </c:pt>
                <c:pt idx="18">
                  <c:v>1000.1909763954754</c:v>
                </c:pt>
                <c:pt idx="19">
                  <c:v>998.20846727043681</c:v>
                </c:pt>
                <c:pt idx="20">
                  <c:v>994.39957840552961</c:v>
                </c:pt>
                <c:pt idx="21">
                  <c:v>989.30084216999239</c:v>
                </c:pt>
                <c:pt idx="22">
                  <c:v>982.20181088507525</c:v>
                </c:pt>
                <c:pt idx="23">
                  <c:v>973.1697459405259</c:v>
                </c:pt>
                <c:pt idx="24">
                  <c:v>962.48167363522225</c:v>
                </c:pt>
                <c:pt idx="25">
                  <c:v>950.03545543961809</c:v>
                </c:pt>
                <c:pt idx="26">
                  <c:v>936.16293754776416</c:v>
                </c:pt>
                <c:pt idx="27">
                  <c:v>921.46707436833822</c:v>
                </c:pt>
                <c:pt idx="28">
                  <c:v>905.98284563023481</c:v>
                </c:pt>
                <c:pt idx="29">
                  <c:v>889.56518772734853</c:v>
                </c:pt>
                <c:pt idx="30">
                  <c:v>872.49347271431179</c:v>
                </c:pt>
                <c:pt idx="31">
                  <c:v>854.83214602930821</c:v>
                </c:pt>
                <c:pt idx="32">
                  <c:v>836.39957257307833</c:v>
                </c:pt>
                <c:pt idx="33">
                  <c:v>817.25631446288025</c:v>
                </c:pt>
                <c:pt idx="34">
                  <c:v>797.71290197565395</c:v>
                </c:pt>
                <c:pt idx="35">
                  <c:v>778.05174916201213</c:v>
                </c:pt>
                <c:pt idx="36">
                  <c:v>758.3997381797526</c:v>
                </c:pt>
                <c:pt idx="37">
                  <c:v>738.69529987391434</c:v>
                </c:pt>
                <c:pt idx="38">
                  <c:v>718.80011407006532</c:v>
                </c:pt>
                <c:pt idx="39">
                  <c:v>698.79185041776509</c:v>
                </c:pt>
                <c:pt idx="40">
                  <c:v>678.82003224144864</c:v>
                </c:pt>
                <c:pt idx="41">
                  <c:v>659.03956928952539</c:v>
                </c:pt>
                <c:pt idx="42">
                  <c:v>639.57849625353992</c:v>
                </c:pt>
                <c:pt idx="43">
                  <c:v>620.45481770299375</c:v>
                </c:pt>
                <c:pt idx="44">
                  <c:v>601.66233328545059</c:v>
                </c:pt>
                <c:pt idx="45">
                  <c:v>583.19925045051787</c:v>
                </c:pt>
                <c:pt idx="46">
                  <c:v>565.07339925922861</c:v>
                </c:pt>
                <c:pt idx="47">
                  <c:v>547.31265593133867</c:v>
                </c:pt>
                <c:pt idx="48">
                  <c:v>529.99596664796991</c:v>
                </c:pt>
                <c:pt idx="49">
                  <c:v>513.18786240006739</c:v>
                </c:pt>
                <c:pt idx="50">
                  <c:v>496.86811381904408</c:v>
                </c:pt>
                <c:pt idx="51">
                  <c:v>480.99391864187783</c:v>
                </c:pt>
                <c:pt idx="52">
                  <c:v>465.53973728281562</c:v>
                </c:pt>
                <c:pt idx="53">
                  <c:v>450.48744319478283</c:v>
                </c:pt>
                <c:pt idx="54">
                  <c:v>435.76921703055268</c:v>
                </c:pt>
                <c:pt idx="55">
                  <c:v>421.33992903726175</c:v>
                </c:pt>
                <c:pt idx="56">
                  <c:v>407.17595683965192</c:v>
                </c:pt>
                <c:pt idx="57">
                  <c:v>393.26620616402943</c:v>
                </c:pt>
                <c:pt idx="58">
                  <c:v>379.60724750248482</c:v>
                </c:pt>
                <c:pt idx="59">
                  <c:v>366.19979807554046</c:v>
                </c:pt>
                <c:pt idx="60">
                  <c:v>353.04659596872807</c:v>
                </c:pt>
                <c:pt idx="61">
                  <c:v>340.15221975115128</c:v>
                </c:pt>
                <c:pt idx="62">
                  <c:v>327.52303667229717</c:v>
                </c:pt>
                <c:pt idx="63">
                  <c:v>315.17333894029434</c:v>
                </c:pt>
                <c:pt idx="64">
                  <c:v>303.28891621840012</c:v>
                </c:pt>
                <c:pt idx="65">
                  <c:v>291.82357002896606</c:v>
                </c:pt>
                <c:pt idx="66">
                  <c:v>280.75187396838737</c:v>
                </c:pt>
                <c:pt idx="67">
                  <c:v>270.07205859771057</c:v>
                </c:pt>
                <c:pt idx="68">
                  <c:v>259.80818395588722</c:v>
                </c:pt>
                <c:pt idx="69">
                  <c:v>249.97861379479582</c:v>
                </c:pt>
                <c:pt idx="70">
                  <c:v>240.58930518641137</c:v>
                </c:pt>
                <c:pt idx="71">
                  <c:v>232.27247631837963</c:v>
                </c:pt>
                <c:pt idx="72">
                  <c:v>224.80722686517402</c:v>
                </c:pt>
                <c:pt idx="73">
                  <c:v>218.00046335271327</c:v>
                </c:pt>
                <c:pt idx="74">
                  <c:v>211.74739770250744</c:v>
                </c:pt>
                <c:pt idx="75">
                  <c:v>205.98898279498098</c:v>
                </c:pt>
                <c:pt idx="76">
                  <c:v>200.69039088851423</c:v>
                </c:pt>
                <c:pt idx="77">
                  <c:v>195.82257913635112</c:v>
                </c:pt>
                <c:pt idx="78">
                  <c:v>191.35324913766817</c:v>
                </c:pt>
                <c:pt idx="79">
                  <c:v>187.23400675834273</c:v>
                </c:pt>
                <c:pt idx="80">
                  <c:v>183.41614469568594</c:v>
                </c:pt>
                <c:pt idx="81">
                  <c:v>179.85111366401543</c:v>
                </c:pt>
                <c:pt idx="82">
                  <c:v>176.4964577065839</c:v>
                </c:pt>
                <c:pt idx="83">
                  <c:v>173.18562888837187</c:v>
                </c:pt>
                <c:pt idx="84">
                  <c:v>169.7997917412431</c:v>
                </c:pt>
                <c:pt idx="85">
                  <c:v>166.2761418313894</c:v>
                </c:pt>
                <c:pt idx="86">
                  <c:v>162.57948949126876</c:v>
                </c:pt>
                <c:pt idx="87">
                  <c:v>158.74023052831762</c:v>
                </c:pt>
                <c:pt idx="88">
                  <c:v>154.78277744015213</c:v>
                </c:pt>
                <c:pt idx="89">
                  <c:v>150.72075966437114</c:v>
                </c:pt>
                <c:pt idx="90">
                  <c:v>146.56166901675169</c:v>
                </c:pt>
                <c:pt idx="91">
                  <c:v>142.31300130949239</c:v>
                </c:pt>
                <c:pt idx="92">
                  <c:v>138.06829791341443</c:v>
                </c:pt>
                <c:pt idx="93">
                  <c:v>133.89507531910203</c:v>
                </c:pt>
                <c:pt idx="94">
                  <c:v>129.83145349408733</c:v>
                </c:pt>
                <c:pt idx="95">
                  <c:v>125.89689390052808</c:v>
                </c:pt>
                <c:pt idx="96">
                  <c:v>122.09933312403155</c:v>
                </c:pt>
                <c:pt idx="97">
                  <c:v>118.43929914027103</c:v>
                </c:pt>
                <c:pt idx="98">
                  <c:v>114.91401047346881</c:v>
                </c:pt>
                <c:pt idx="99">
                  <c:v>111.52403952769237</c:v>
                </c:pt>
                <c:pt idx="100">
                  <c:v>108.27734827657696</c:v>
                </c:pt>
                <c:pt idx="101">
                  <c:v>105.17553286097245</c:v>
                </c:pt>
                <c:pt idx="102">
                  <c:v>102.21505951925064</c:v>
                </c:pt>
                <c:pt idx="103">
                  <c:v>99.389812466863077</c:v>
                </c:pt>
                <c:pt idx="104">
                  <c:v>96.692725172499195</c:v>
                </c:pt>
                <c:pt idx="105">
                  <c:v>94.1168624234269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D60-4826-BB40-44692634279D}"/>
            </c:ext>
          </c:extLst>
        </c:ser>
        <c:ser>
          <c:idx val="3"/>
          <c:order val="1"/>
          <c:tx>
            <c:strRef>
              <c:f>Sheet1!$E$1</c:f>
              <c:strCache>
                <c:ptCount val="1"/>
                <c:pt idx="0">
                  <c:v>B</c:v>
                </c:pt>
              </c:strCache>
            </c:strRef>
          </c:tx>
          <c:spPr>
            <a:ln w="28575" cap="rnd">
              <a:solidFill>
                <a:srgbClr val="305983"/>
              </a:solidFill>
              <a:round/>
            </a:ln>
            <a:effectLst/>
          </c:spPr>
          <c:marker>
            <c:symbol val="none"/>
          </c:marker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E$2:$E$107</c:f>
              <c:numCache>
                <c:formatCode>General</c:formatCode>
                <c:ptCount val="106"/>
                <c:pt idx="10">
                  <c:v>939.68990866873355</c:v>
                </c:pt>
                <c:pt idx="11">
                  <c:v>974.94485143883503</c:v>
                </c:pt>
                <c:pt idx="12">
                  <c:v>1008.4265021398169</c:v>
                </c:pt>
                <c:pt idx="13">
                  <c:v>1046.0243337516877</c:v>
                </c:pt>
                <c:pt idx="14">
                  <c:v>1085.3970949968643</c:v>
                </c:pt>
                <c:pt idx="15">
                  <c:v>1120.3086281062861</c:v>
                </c:pt>
                <c:pt idx="16">
                  <c:v>1151.584427099704</c:v>
                </c:pt>
                <c:pt idx="17">
                  <c:v>1180.4843014507205</c:v>
                </c:pt>
                <c:pt idx="18">
                  <c:v>1205.9110242171155</c:v>
                </c:pt>
                <c:pt idx="19">
                  <c:v>1228.0291395494714</c:v>
                </c:pt>
                <c:pt idx="20">
                  <c:v>1248.7191552721779</c:v>
                </c:pt>
                <c:pt idx="21">
                  <c:v>1268.34058953356</c:v>
                </c:pt>
                <c:pt idx="22">
                  <c:v>1286.160306172329</c:v>
                </c:pt>
                <c:pt idx="23">
                  <c:v>1302.4438664700137</c:v>
                </c:pt>
                <c:pt idx="24">
                  <c:v>1317.4138237172883</c:v>
                </c:pt>
                <c:pt idx="25">
                  <c:v>1330.8865350055421</c:v>
                </c:pt>
                <c:pt idx="26">
                  <c:v>1343.0830706931738</c:v>
                </c:pt>
                <c:pt idx="27">
                  <c:v>1354.4745268098195</c:v>
                </c:pt>
                <c:pt idx="28">
                  <c:v>1364.8754723661114</c:v>
                </c:pt>
                <c:pt idx="29">
                  <c:v>1374.1835404631274</c:v>
                </c:pt>
                <c:pt idx="30">
                  <c:v>1382.6944819826604</c:v>
                </c:pt>
                <c:pt idx="31">
                  <c:v>1390.4954056042188</c:v>
                </c:pt>
                <c:pt idx="32">
                  <c:v>1397.4135756127071</c:v>
                </c:pt>
                <c:pt idx="33">
                  <c:v>1403.4525853436789</c:v>
                </c:pt>
                <c:pt idx="34">
                  <c:v>1408.7351219802513</c:v>
                </c:pt>
                <c:pt idx="35">
                  <c:v>1413.3154685879126</c:v>
                </c:pt>
                <c:pt idx="36">
                  <c:v>1417.2936102258827</c:v>
                </c:pt>
                <c:pt idx="37">
                  <c:v>1420.6530972111505</c:v>
                </c:pt>
                <c:pt idx="38">
                  <c:v>1423.2538459758653</c:v>
                </c:pt>
                <c:pt idx="39">
                  <c:v>1425.1654933874088</c:v>
                </c:pt>
                <c:pt idx="40">
                  <c:v>1426.481266060262</c:v>
                </c:pt>
                <c:pt idx="41">
                  <c:v>1427.1770800999948</c:v>
                </c:pt>
                <c:pt idx="42">
                  <c:v>1427.2660220357066</c:v>
                </c:pt>
                <c:pt idx="43">
                  <c:v>1426.7606784056406</c:v>
                </c:pt>
                <c:pt idx="44">
                  <c:v>1425.6720860480564</c:v>
                </c:pt>
                <c:pt idx="45">
                  <c:v>1424.0105010053958</c:v>
                </c:pt>
                <c:pt idx="46">
                  <c:v>1421.7857939553796</c:v>
                </c:pt>
                <c:pt idx="47">
                  <c:v>1419.0076702750521</c:v>
                </c:pt>
                <c:pt idx="48">
                  <c:v>1415.6858058998478</c:v>
                </c:pt>
                <c:pt idx="49">
                  <c:v>1411.8299404516292</c:v>
                </c:pt>
                <c:pt idx="50">
                  <c:v>1407.449946343113</c:v>
                </c:pt>
                <c:pt idx="51">
                  <c:v>1402.5558823085739</c:v>
                </c:pt>
                <c:pt idx="52">
                  <c:v>1397.1580353064928</c:v>
                </c:pt>
                <c:pt idx="53">
                  <c:v>1391.2669528147962</c:v>
                </c:pt>
                <c:pt idx="54">
                  <c:v>1384.8934667489084</c:v>
                </c:pt>
                <c:pt idx="55">
                  <c:v>1378.0487099190359</c:v>
                </c:pt>
                <c:pt idx="56">
                  <c:v>1370.7441258124891</c:v>
                </c:pt>
                <c:pt idx="57">
                  <c:v>1362.9914724264527</c:v>
                </c:pt>
                <c:pt idx="58">
                  <c:v>1354.8028208309261</c:v>
                </c:pt>
                <c:pt idx="59">
                  <c:v>1346.1905490985082</c:v>
                </c:pt>
                <c:pt idx="60">
                  <c:v>1337.1673321950657</c:v>
                </c:pt>
                <c:pt idx="61">
                  <c:v>1327.7461283779412</c:v>
                </c:pt>
                <c:pt idx="62">
                  <c:v>1317.9401626036561</c:v>
                </c:pt>
                <c:pt idx="63">
                  <c:v>1307.7629074034921</c:v>
                </c:pt>
                <c:pt idx="64">
                  <c:v>1297.228061643109</c:v>
                </c:pt>
                <c:pt idx="65">
                  <c:v>1286.34952754603</c:v>
                </c:pt>
                <c:pt idx="66">
                  <c:v>1275.1413863228227</c:v>
                </c:pt>
                <c:pt idx="67">
                  <c:v>1263.6178727188089</c:v>
                </c:pt>
                <c:pt idx="68">
                  <c:v>1251.7933487624105</c:v>
                </c:pt>
                <c:pt idx="69">
                  <c:v>1239.6822769695136</c:v>
                </c:pt>
                <c:pt idx="70">
                  <c:v>1227.2991932362202</c:v>
                </c:pt>
                <c:pt idx="71">
                  <c:v>1214.658679629676</c:v>
                </c:pt>
                <c:pt idx="72">
                  <c:v>1201.7753372660372</c:v>
                </c:pt>
                <c:pt idx="73">
                  <c:v>1188.6637594462663</c:v>
                </c:pt>
                <c:pt idx="74">
                  <c:v>1175.3385052036028</c:v>
                </c:pt>
                <c:pt idx="75">
                  <c:v>1161.8140733992623</c:v>
                </c:pt>
                <c:pt idx="76">
                  <c:v>1148.1048774885712</c:v>
                </c:pt>
                <c:pt idx="77">
                  <c:v>1134.2252210658917</c:v>
                </c:pt>
                <c:pt idx="78">
                  <c:v>1120.1892742824275</c:v>
                </c:pt>
                <c:pt idx="79">
                  <c:v>1106.0110512197134</c:v>
                </c:pt>
                <c:pt idx="80">
                  <c:v>1091.7043882883736</c:v>
                </c:pt>
                <c:pt idx="81">
                  <c:v>1077.282923712628</c:v>
                </c:pt>
                <c:pt idx="82">
                  <c:v>1062.7600781483634</c:v>
                </c:pt>
                <c:pt idx="83">
                  <c:v>1048.1490364747588</c:v>
                </c:pt>
                <c:pt idx="84">
                  <c:v>1033.4627307888586</c:v>
                </c:pt>
                <c:pt idx="85">
                  <c:v>1018.7138246245158</c:v>
                </c:pt>
                <c:pt idx="86">
                  <c:v>1003.9146984092658</c:v>
                </c:pt>
                <c:pt idx="87">
                  <c:v>989.07743616454536</c:v>
                </c:pt>
                <c:pt idx="88">
                  <c:v>974.21381344806287</c:v>
                </c:pt>
                <c:pt idx="89">
                  <c:v>959.33528653107351</c:v>
                </c:pt>
                <c:pt idx="90">
                  <c:v>944.45298279676354</c:v>
                </c:pt>
                <c:pt idx="91">
                  <c:v>929.57769234111765</c:v>
                </c:pt>
                <c:pt idx="92">
                  <c:v>914.7198607523751</c:v>
                </c:pt>
                <c:pt idx="93">
                  <c:v>899.88958304119296</c:v>
                </c:pt>
                <c:pt idx="94">
                  <c:v>885.09659868950257</c:v>
                </c:pt>
                <c:pt idx="95">
                  <c:v>870.3502877826395</c:v>
                </c:pt>
                <c:pt idx="96">
                  <c:v>855.65966818627203</c:v>
                </c:pt>
                <c:pt idx="97">
                  <c:v>841.03339372758637</c:v>
                </c:pt>
                <c:pt idx="98">
                  <c:v>826.47975333695649</c:v>
                </c:pt>
                <c:pt idx="99">
                  <c:v>812.00667110606446</c:v>
                </c:pt>
                <c:pt idx="100">
                  <c:v>797.62170721552684</c:v>
                </c:pt>
                <c:pt idx="101">
                  <c:v>783.33205968534457</c:v>
                </c:pt>
                <c:pt idx="102">
                  <c:v>769.14456689960207</c:v>
                </c:pt>
                <c:pt idx="103">
                  <c:v>755.06571085783071</c:v>
                </c:pt>
                <c:pt idx="104">
                  <c:v>741.10162110353122</c:v>
                </c:pt>
                <c:pt idx="105">
                  <c:v>727.258079282531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D60-4826-BB40-44692634279D}"/>
            </c:ext>
          </c:extLst>
        </c:ser>
        <c:ser>
          <c:idx val="4"/>
          <c:order val="2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F$2:$F$107</c:f>
              <c:numCache>
                <c:formatCode>General</c:formatCode>
                <c:ptCount val="106"/>
                <c:pt idx="10">
                  <c:v>939.68990866873355</c:v>
                </c:pt>
                <c:pt idx="11">
                  <c:v>974.94485143883503</c:v>
                </c:pt>
                <c:pt idx="12">
                  <c:v>1004.2910924640455</c:v>
                </c:pt>
                <c:pt idx="13">
                  <c:v>1034.6599045577896</c:v>
                </c:pt>
                <c:pt idx="14">
                  <c:v>1064.6510091166128</c:v>
                </c:pt>
                <c:pt idx="15">
                  <c:v>1088.4430152635177</c:v>
                </c:pt>
                <c:pt idx="16">
                  <c:v>1107.0225666343176</c:v>
                </c:pt>
                <c:pt idx="17">
                  <c:v>1121.6862178713054</c:v>
                </c:pt>
                <c:pt idx="18">
                  <c:v>1131.3569439937419</c:v>
                </c:pt>
                <c:pt idx="19">
                  <c:v>1136.25746795538</c:v>
                </c:pt>
                <c:pt idx="20">
                  <c:v>1138.43396380372</c:v>
                </c:pt>
                <c:pt idx="21">
                  <c:v>1138.4324741638702</c:v>
                </c:pt>
                <c:pt idx="22">
                  <c:v>1135.725348398395</c:v>
                </c:pt>
                <c:pt idx="23">
                  <c:v>1130.7752992526948</c:v>
                </c:pt>
                <c:pt idx="24">
                  <c:v>1123.9901338405325</c:v>
                </c:pt>
                <c:pt idx="25">
                  <c:v>1115.335941099198</c:v>
                </c:pt>
                <c:pt idx="26">
                  <c:v>1105.1641549790947</c:v>
                </c:pt>
                <c:pt idx="27">
                  <c:v>1094.0612799294468</c:v>
                </c:pt>
                <c:pt idx="28">
                  <c:v>1081.9455917359737</c:v>
                </c:pt>
                <c:pt idx="29">
                  <c:v>1068.807309041993</c:v>
                </c:pt>
                <c:pt idx="30">
                  <c:v>1055.0241557096015</c:v>
                </c:pt>
                <c:pt idx="31">
                  <c:v>1040.7550864105142</c:v>
                </c:pt>
                <c:pt idx="32">
                  <c:v>1025.8891083156777</c:v>
                </c:pt>
                <c:pt idx="33">
                  <c:v>1010.4870239173761</c:v>
                </c:pt>
                <c:pt idx="34">
                  <c:v>994.72321121889399</c:v>
                </c:pt>
                <c:pt idx="35">
                  <c:v>978.69698404413066</c:v>
                </c:pt>
                <c:pt idx="36">
                  <c:v>962.54717531692586</c:v>
                </c:pt>
                <c:pt idx="37">
                  <c:v>946.29235946733388</c:v>
                </c:pt>
                <c:pt idx="38">
                  <c:v>929.82535322969488</c:v>
                </c:pt>
                <c:pt idx="39">
                  <c:v>913.24308283273422</c:v>
                </c:pt>
                <c:pt idx="40">
                  <c:v>896.66251538325741</c:v>
                </c:pt>
                <c:pt idx="41">
                  <c:v>880.08043509261915</c:v>
                </c:pt>
                <c:pt idx="42">
                  <c:v>863.52737050990982</c:v>
                </c:pt>
                <c:pt idx="43">
                  <c:v>847.03251603296667</c:v>
                </c:pt>
                <c:pt idx="44">
                  <c:v>830.62018137803534</c:v>
                </c:pt>
                <c:pt idx="45">
                  <c:v>814.31117072822235</c:v>
                </c:pt>
                <c:pt idx="46">
                  <c:v>798.12355009600287</c:v>
                </c:pt>
                <c:pt idx="47">
                  <c:v>782.07311385739013</c:v>
                </c:pt>
                <c:pt idx="48">
                  <c:v>766.1737004002498</c:v>
                </c:pt>
                <c:pt idx="49">
                  <c:v>750.43742859226768</c:v>
                </c:pt>
                <c:pt idx="50">
                  <c:v>734.87488919234602</c:v>
                </c:pt>
                <c:pt idx="51">
                  <c:v>719.4953075258527</c:v>
                </c:pt>
                <c:pt idx="52">
                  <c:v>704.30668544929358</c:v>
                </c:pt>
                <c:pt idx="53">
                  <c:v>689.31592683456256</c:v>
                </c:pt>
                <c:pt idx="54">
                  <c:v>674.52894909714814</c:v>
                </c:pt>
                <c:pt idx="55">
                  <c:v>659.95078252410167</c:v>
                </c:pt>
                <c:pt idx="56">
                  <c:v>645.58565879779053</c:v>
                </c:pt>
                <c:pt idx="57">
                  <c:v>631.43708992260508</c:v>
                </c:pt>
                <c:pt idx="58">
                  <c:v>617.50793863032595</c:v>
                </c:pt>
                <c:pt idx="59">
                  <c:v>603.80048123886809</c:v>
                </c:pt>
                <c:pt idx="60">
                  <c:v>590.31646384013584</c:v>
                </c:pt>
                <c:pt idx="61">
                  <c:v>577.05715260203579</c:v>
                </c:pt>
                <c:pt idx="62">
                  <c:v>564.02337888264447</c:v>
                </c:pt>
                <c:pt idx="63">
                  <c:v>551.21557977280463</c:v>
                </c:pt>
                <c:pt idx="64">
                  <c:v>538.63383460993646</c:v>
                </c:pt>
                <c:pt idx="65">
                  <c:v>526.27789793809643</c:v>
                </c:pt>
                <c:pt idx="66">
                  <c:v>514.14722932939185</c:v>
                </c:pt>
                <c:pt idx="67">
                  <c:v>502.24102042918094</c:v>
                </c:pt>
                <c:pt idx="68">
                  <c:v>490.55821954092244</c:v>
                </c:pt>
                <c:pt idx="69">
                  <c:v>479.09755402573501</c:v>
                </c:pt>
                <c:pt idx="70">
                  <c:v>467.8575507561327</c:v>
                </c:pt>
                <c:pt idx="71">
                  <c:v>456.83655483319308</c:v>
                </c:pt>
                <c:pt idx="72">
                  <c:v>446.03274674975546</c:v>
                </c:pt>
                <c:pt idx="73">
                  <c:v>435.44415815870161</c:v>
                </c:pt>
                <c:pt idx="74">
                  <c:v>425.06868638601736</c:v>
                </c:pt>
                <c:pt idx="75">
                  <c:v>414.90410781075479</c:v>
                </c:pt>
                <c:pt idx="76">
                  <c:v>404.94809021975379</c:v>
                </c:pt>
                <c:pt idx="77">
                  <c:v>395.19820423098281</c:v>
                </c:pt>
                <c:pt idx="78">
                  <c:v>385.65193386908504</c:v>
                </c:pt>
                <c:pt idx="79">
                  <c:v>376.30668636763585</c:v>
                </c:pt>
                <c:pt idx="80">
                  <c:v>367.15980126202339</c:v>
                </c:pt>
                <c:pt idx="81">
                  <c:v>358.20855883232434</c:v>
                </c:pt>
                <c:pt idx="82">
                  <c:v>349.45018794763018</c:v>
                </c:pt>
                <c:pt idx="83">
                  <c:v>340.88187335742987</c:v>
                </c:pt>
                <c:pt idx="84">
                  <c:v>332.50076247288962</c:v>
                </c:pt>
                <c:pt idx="85">
                  <c:v>324.30397167440969</c:v>
                </c:pt>
                <c:pt idx="86">
                  <c:v>316.28859217913123</c:v>
                </c:pt>
                <c:pt idx="87">
                  <c:v>308.45169550017454</c:v>
                </c:pt>
                <c:pt idx="88">
                  <c:v>300.79033852333669</c:v>
                </c:pt>
                <c:pt idx="89">
                  <c:v>293.30156822878052</c:v>
                </c:pt>
                <c:pt idx="90">
                  <c:v>285.98242607872817</c:v>
                </c:pt>
                <c:pt idx="91">
                  <c:v>278.82995209406363</c:v>
                </c:pt>
                <c:pt idx="92">
                  <c:v>271.84118863809272</c:v>
                </c:pt>
                <c:pt idx="93">
                  <c:v>265.01318392631947</c:v>
                </c:pt>
                <c:pt idx="94">
                  <c:v>258.34299527821713</c:v>
                </c:pt>
                <c:pt idx="95">
                  <c:v>251.82769212688436</c:v>
                </c:pt>
                <c:pt idx="96">
                  <c:v>245.46435880078934</c:v>
                </c:pt>
                <c:pt idx="97">
                  <c:v>239.25009709098958</c:v>
                </c:pt>
                <c:pt idx="98">
                  <c:v>233.18202861610916</c:v>
                </c:pt>
                <c:pt idx="99">
                  <c:v>227.25729699744261</c:v>
                </c:pt>
                <c:pt idx="100">
                  <c:v>221.4730698542844</c:v>
                </c:pt>
                <c:pt idx="101">
                  <c:v>215.8265406305436</c:v>
                </c:pt>
                <c:pt idx="102">
                  <c:v>210.31493026213138</c:v>
                </c:pt>
                <c:pt idx="103">
                  <c:v>204.9354886940273</c:v>
                </c:pt>
                <c:pt idx="104">
                  <c:v>199.68549625607557</c:v>
                </c:pt>
                <c:pt idx="105">
                  <c:v>194.562264905602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D60-4826-BB40-4469263427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</c:date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20000242690338468"/>
          <c:y val="4.6874997116449491E-2"/>
          <c:w val="0.63135654138833119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2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G$2:$G$107</c:f>
              <c:numCache>
                <c:formatCode>General</c:formatCode>
                <c:ptCount val="106"/>
                <c:pt idx="0">
                  <c:v>130</c:v>
                </c:pt>
                <c:pt idx="1">
                  <c:v>149</c:v>
                </c:pt>
                <c:pt idx="2">
                  <c:v>132</c:v>
                </c:pt>
                <c:pt idx="3">
                  <c:v>172</c:v>
                </c:pt>
                <c:pt idx="4">
                  <c:v>176</c:v>
                </c:pt>
                <c:pt idx="5">
                  <c:v>174</c:v>
                </c:pt>
                <c:pt idx="6">
                  <c:v>146</c:v>
                </c:pt>
                <c:pt idx="7">
                  <c:v>166</c:v>
                </c:pt>
                <c:pt idx="8">
                  <c:v>148</c:v>
                </c:pt>
                <c:pt idx="9">
                  <c:v>144</c:v>
                </c:pt>
                <c:pt idx="10">
                  <c:v>181</c:v>
                </c:pt>
                <c:pt idx="11">
                  <c:v>191</c:v>
                </c:pt>
                <c:pt idx="12">
                  <c:v>192</c:v>
                </c:pt>
                <c:pt idx="13">
                  <c:v>179</c:v>
                </c:pt>
                <c:pt idx="14">
                  <c:v>204</c:v>
                </c:pt>
                <c:pt idx="15">
                  <c:v>191</c:v>
                </c:pt>
                <c:pt idx="16">
                  <c:v>200</c:v>
                </c:pt>
                <c:pt idx="17">
                  <c:v>213</c:v>
                </c:pt>
                <c:pt idx="18">
                  <c:v>179</c:v>
                </c:pt>
                <c:pt idx="19">
                  <c:v>201</c:v>
                </c:pt>
                <c:pt idx="20">
                  <c:v>196</c:v>
                </c:pt>
                <c:pt idx="21">
                  <c:v>235</c:v>
                </c:pt>
                <c:pt idx="22">
                  <c:v>225</c:v>
                </c:pt>
                <c:pt idx="23">
                  <c:v>225</c:v>
                </c:pt>
                <c:pt idx="24">
                  <c:v>227</c:v>
                </c:pt>
                <c:pt idx="25">
                  <c:v>209</c:v>
                </c:pt>
                <c:pt idx="26">
                  <c:v>175</c:v>
                </c:pt>
                <c:pt idx="27">
                  <c:v>222</c:v>
                </c:pt>
                <c:pt idx="28">
                  <c:v>234</c:v>
                </c:pt>
                <c:pt idx="29">
                  <c:v>214</c:v>
                </c:pt>
                <c:pt idx="30">
                  <c:v>195</c:v>
                </c:pt>
                <c:pt idx="31">
                  <c:v>213</c:v>
                </c:pt>
                <c:pt idx="32">
                  <c:v>172</c:v>
                </c:pt>
                <c:pt idx="33">
                  <c:v>175</c:v>
                </c:pt>
                <c:pt idx="34">
                  <c:v>188</c:v>
                </c:pt>
                <c:pt idx="35">
                  <c:v>205</c:v>
                </c:pt>
                <c:pt idx="36">
                  <c:v>191</c:v>
                </c:pt>
                <c:pt idx="37">
                  <c:v>179</c:v>
                </c:pt>
                <c:pt idx="38">
                  <c:v>154</c:v>
                </c:pt>
                <c:pt idx="39">
                  <c:v>152</c:v>
                </c:pt>
                <c:pt idx="40">
                  <c:v>177</c:v>
                </c:pt>
                <c:pt idx="41">
                  <c:v>116</c:v>
                </c:pt>
                <c:pt idx="42">
                  <c:v>174</c:v>
                </c:pt>
                <c:pt idx="43">
                  <c:v>168</c:v>
                </c:pt>
                <c:pt idx="44">
                  <c:v>148</c:v>
                </c:pt>
                <c:pt idx="45">
                  <c:v>147</c:v>
                </c:pt>
                <c:pt idx="46">
                  <c:v>103</c:v>
                </c:pt>
                <c:pt idx="47">
                  <c:v>118</c:v>
                </c:pt>
                <c:pt idx="48">
                  <c:v>137</c:v>
                </c:pt>
                <c:pt idx="49">
                  <c:v>120</c:v>
                </c:pt>
                <c:pt idx="50">
                  <c:v>112</c:v>
                </c:pt>
                <c:pt idx="51">
                  <c:v>122</c:v>
                </c:pt>
                <c:pt idx="52">
                  <c:v>120</c:v>
                </c:pt>
                <c:pt idx="53">
                  <c:v>102</c:v>
                </c:pt>
                <c:pt idx="54">
                  <c:v>104</c:v>
                </c:pt>
                <c:pt idx="55">
                  <c:v>90</c:v>
                </c:pt>
                <c:pt idx="56">
                  <c:v>82</c:v>
                </c:pt>
                <c:pt idx="57">
                  <c:v>86</c:v>
                </c:pt>
                <c:pt idx="58">
                  <c:v>88</c:v>
                </c:pt>
                <c:pt idx="59">
                  <c:v>83</c:v>
                </c:pt>
                <c:pt idx="60">
                  <c:v>61</c:v>
                </c:pt>
                <c:pt idx="61">
                  <c:v>70</c:v>
                </c:pt>
                <c:pt idx="62">
                  <c:v>72</c:v>
                </c:pt>
                <c:pt idx="63">
                  <c:v>69</c:v>
                </c:pt>
                <c:pt idx="64">
                  <c:v>60</c:v>
                </c:pt>
                <c:pt idx="65">
                  <c:v>60</c:v>
                </c:pt>
                <c:pt idx="66">
                  <c:v>52</c:v>
                </c:pt>
                <c:pt idx="67">
                  <c:v>39</c:v>
                </c:pt>
                <c:pt idx="68">
                  <c:v>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431-46DE-A093-6A704C448C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2"/>
          <c:order val="0"/>
          <c:tx>
            <c:strRef>
              <c:f>Sheet1!$D$1</c:f>
              <c:strCache>
                <c:ptCount val="1"/>
                <c:pt idx="0">
                  <c:v>V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D$2:$D$107</c:f>
              <c:numCache>
                <c:formatCode>General</c:formatCode>
                <c:ptCount val="106"/>
                <c:pt idx="10">
                  <c:v>133.67225201990925</c:v>
                </c:pt>
                <c:pt idx="11">
                  <c:v>137.08871174325824</c:v>
                </c:pt>
                <c:pt idx="12">
                  <c:v>140.48076864243941</c:v>
                </c:pt>
                <c:pt idx="13">
                  <c:v>144.61312895008422</c:v>
                </c:pt>
                <c:pt idx="14">
                  <c:v>148.74759729564039</c:v>
                </c:pt>
                <c:pt idx="15">
                  <c:v>152.61454528146712</c:v>
                </c:pt>
                <c:pt idx="16">
                  <c:v>156.56754325948657</c:v>
                </c:pt>
                <c:pt idx="17">
                  <c:v>160.56169480031534</c:v>
                </c:pt>
                <c:pt idx="18">
                  <c:v>164.06265133427922</c:v>
                </c:pt>
                <c:pt idx="19">
                  <c:v>167.30045785960448</c:v>
                </c:pt>
                <c:pt idx="20">
                  <c:v>170.41652689652705</c:v>
                </c:pt>
                <c:pt idx="21">
                  <c:v>172.98693340665886</c:v>
                </c:pt>
                <c:pt idx="22">
                  <c:v>175.15919834059889</c:v>
                </c:pt>
                <c:pt idx="23">
                  <c:v>177.29129103603395</c:v>
                </c:pt>
                <c:pt idx="24">
                  <c:v>178.91077190810333</c:v>
                </c:pt>
                <c:pt idx="25">
                  <c:v>179.79712423555756</c:v>
                </c:pt>
                <c:pt idx="26">
                  <c:v>180.54680740193697</c:v>
                </c:pt>
                <c:pt idx="27">
                  <c:v>181.08710623477572</c:v>
                </c:pt>
                <c:pt idx="28">
                  <c:v>181.09082108393829</c:v>
                </c:pt>
                <c:pt idx="29">
                  <c:v>180.55367267818471</c:v>
                </c:pt>
                <c:pt idx="30">
                  <c:v>179.93584570379454</c:v>
                </c:pt>
                <c:pt idx="31">
                  <c:v>178.92915666417528</c:v>
                </c:pt>
                <c:pt idx="32">
                  <c:v>177.430389952105</c:v>
                </c:pt>
                <c:pt idx="33">
                  <c:v>175.78053515041569</c:v>
                </c:pt>
                <c:pt idx="34">
                  <c:v>173.8064869158151</c:v>
                </c:pt>
                <c:pt idx="35">
                  <c:v>171.58839940704402</c:v>
                </c:pt>
                <c:pt idx="36">
                  <c:v>169.11810463465969</c:v>
                </c:pt>
                <c:pt idx="37">
                  <c:v>166.44421114141338</c:v>
                </c:pt>
                <c:pt idx="38">
                  <c:v>163.622389761064</c:v>
                </c:pt>
                <c:pt idx="39">
                  <c:v>160.5499802481859</c:v>
                </c:pt>
                <c:pt idx="40">
                  <c:v>157.3948257367384</c:v>
                </c:pt>
                <c:pt idx="41">
                  <c:v>154.09926379402825</c:v>
                </c:pt>
                <c:pt idx="42">
                  <c:v>150.6768701358053</c:v>
                </c:pt>
                <c:pt idx="43">
                  <c:v>147.17614141091883</c:v>
                </c:pt>
                <c:pt idx="44">
                  <c:v>143.6173608544245</c:v>
                </c:pt>
                <c:pt idx="45">
                  <c:v>140.01735403427577</c:v>
                </c:pt>
                <c:pt idx="46">
                  <c:v>136.33830574347058</c:v>
                </c:pt>
                <c:pt idx="47">
                  <c:v>132.66224012589171</c:v>
                </c:pt>
                <c:pt idx="48">
                  <c:v>129.02001652326473</c:v>
                </c:pt>
                <c:pt idx="49">
                  <c:v>125.34854663630219</c:v>
                </c:pt>
                <c:pt idx="50">
                  <c:v>121.70863565565664</c:v>
                </c:pt>
                <c:pt idx="51">
                  <c:v>118.1143734326057</c:v>
                </c:pt>
                <c:pt idx="52">
                  <c:v>114.56195452815446</c:v>
                </c:pt>
                <c:pt idx="53">
                  <c:v>111.06614628049535</c:v>
                </c:pt>
                <c:pt idx="54">
                  <c:v>107.61626053606136</c:v>
                </c:pt>
                <c:pt idx="55">
                  <c:v>104.22296242157796</c:v>
                </c:pt>
                <c:pt idx="56">
                  <c:v>100.88432771218993</c:v>
                </c:pt>
                <c:pt idx="57">
                  <c:v>97.614627529657028</c:v>
                </c:pt>
                <c:pt idx="58">
                  <c:v>94.41289573562841</c:v>
                </c:pt>
                <c:pt idx="59">
                  <c:v>91.274439986089774</c:v>
                </c:pt>
                <c:pt idx="60">
                  <c:v>88.189406485924792</c:v>
                </c:pt>
                <c:pt idx="61">
                  <c:v>85.164178096821615</c:v>
                </c:pt>
                <c:pt idx="62">
                  <c:v>82.192911792630596</c:v>
                </c:pt>
                <c:pt idx="63">
                  <c:v>79.275316819483066</c:v>
                </c:pt>
                <c:pt idx="64">
                  <c:v>76.429666958397661</c:v>
                </c:pt>
                <c:pt idx="65">
                  <c:v>73.624216521405003</c:v>
                </c:pt>
                <c:pt idx="66">
                  <c:v>70.890561807489448</c:v>
                </c:pt>
                <c:pt idx="67">
                  <c:v>68.234376934734215</c:v>
                </c:pt>
                <c:pt idx="68">
                  <c:v>65.624339150765465</c:v>
                </c:pt>
                <c:pt idx="69">
                  <c:v>63.082509837361755</c:v>
                </c:pt>
                <c:pt idx="70">
                  <c:v>60.611044819719609</c:v>
                </c:pt>
                <c:pt idx="71">
                  <c:v>58.214006564095143</c:v>
                </c:pt>
                <c:pt idx="72">
                  <c:v>55.901093401628337</c:v>
                </c:pt>
                <c:pt idx="73">
                  <c:v>53.677292218343041</c:v>
                </c:pt>
                <c:pt idx="74">
                  <c:v>51.546259021593819</c:v>
                </c:pt>
                <c:pt idx="75">
                  <c:v>49.509894337176561</c:v>
                </c:pt>
                <c:pt idx="76">
                  <c:v>47.568658180134477</c:v>
                </c:pt>
                <c:pt idx="77">
                  <c:v>45.722691891754494</c:v>
                </c:pt>
                <c:pt idx="78">
                  <c:v>43.971302549031535</c:v>
                </c:pt>
                <c:pt idx="79">
                  <c:v>42.312376345349399</c:v>
                </c:pt>
                <c:pt idx="80">
                  <c:v>40.743461505204891</c:v>
                </c:pt>
                <c:pt idx="81">
                  <c:v>39.261541352816124</c:v>
                </c:pt>
                <c:pt idx="82">
                  <c:v>37.862858638477604</c:v>
                </c:pt>
                <c:pt idx="83">
                  <c:v>36.541501555556586</c:v>
                </c:pt>
                <c:pt idx="84">
                  <c:v>35.289631760029344</c:v>
                </c:pt>
                <c:pt idx="85">
                  <c:v>34.098254012138888</c:v>
                </c:pt>
                <c:pt idx="86">
                  <c:v>32.957822965821897</c:v>
                </c:pt>
                <c:pt idx="87">
                  <c:v>31.859842730707417</c:v>
                </c:pt>
                <c:pt idx="88">
                  <c:v>30.797170221529306</c:v>
                </c:pt>
                <c:pt idx="89">
                  <c:v>29.763068297428905</c:v>
                </c:pt>
                <c:pt idx="90">
                  <c:v>28.752170753338888</c:v>
                </c:pt>
                <c:pt idx="91">
                  <c:v>27.760163354659497</c:v>
                </c:pt>
                <c:pt idx="92">
                  <c:v>26.784530598581171</c:v>
                </c:pt>
                <c:pt idx="93">
                  <c:v>25.824761002241583</c:v>
                </c:pt>
                <c:pt idx="94">
                  <c:v>24.881962961573233</c:v>
                </c:pt>
                <c:pt idx="95">
                  <c:v>23.958382626991462</c:v>
                </c:pt>
                <c:pt idx="96">
                  <c:v>23.056372710723345</c:v>
                </c:pt>
                <c:pt idx="97">
                  <c:v>22.178457952005211</c:v>
                </c:pt>
                <c:pt idx="98">
                  <c:v>21.327069514168159</c:v>
                </c:pt>
                <c:pt idx="99">
                  <c:v>20.504441937186556</c:v>
                </c:pt>
                <c:pt idx="100">
                  <c:v>19.712504623178354</c:v>
                </c:pt>
                <c:pt idx="101">
                  <c:v>18.952634885809495</c:v>
                </c:pt>
                <c:pt idx="102">
                  <c:v>18.225841334963185</c:v>
                </c:pt>
                <c:pt idx="103">
                  <c:v>17.532563087683215</c:v>
                </c:pt>
                <c:pt idx="104">
                  <c:v>16.872883683097008</c:v>
                </c:pt>
                <c:pt idx="105">
                  <c:v>16.24659051779495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431-46DE-A093-6A704C448CFB}"/>
            </c:ext>
          </c:extLst>
        </c:ser>
        <c:ser>
          <c:idx val="4"/>
          <c:order val="1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F$2:$F$107</c:f>
              <c:numCache>
                <c:formatCode>General</c:formatCode>
                <c:ptCount val="106"/>
                <c:pt idx="10">
                  <c:v>134.28754207317729</c:v>
                </c:pt>
                <c:pt idx="11">
                  <c:v>138.92739763188584</c:v>
                </c:pt>
                <c:pt idx="12">
                  <c:v>143.66870670704924</c:v>
                </c:pt>
                <c:pt idx="13">
                  <c:v>149.34760249019917</c:v>
                </c:pt>
                <c:pt idx="14">
                  <c:v>155.14537213180577</c:v>
                </c:pt>
                <c:pt idx="15">
                  <c:v>160.68258464362043</c:v>
                </c:pt>
                <c:pt idx="16">
                  <c:v>166.40076707827461</c:v>
                </c:pt>
                <c:pt idx="17">
                  <c:v>172.25390592088766</c:v>
                </c:pt>
                <c:pt idx="18">
                  <c:v>177.58118777564707</c:v>
                </c:pt>
                <c:pt idx="19">
                  <c:v>182.61896089384268</c:v>
                </c:pt>
                <c:pt idx="20">
                  <c:v>187.51885695081242</c:v>
                </c:pt>
                <c:pt idx="21">
                  <c:v>191.84933484666124</c:v>
                </c:pt>
                <c:pt idx="22">
                  <c:v>195.69028340324491</c:v>
                </c:pt>
                <c:pt idx="23">
                  <c:v>199.44980317102443</c:v>
                </c:pt>
                <c:pt idx="24">
                  <c:v>202.605663685964</c:v>
                </c:pt>
                <c:pt idx="25">
                  <c:v>204.97526409836121</c:v>
                </c:pt>
                <c:pt idx="26">
                  <c:v>207.15541511568847</c:v>
                </c:pt>
                <c:pt idx="27">
                  <c:v>209.0641693387675</c:v>
                </c:pt>
                <c:pt idx="28">
                  <c:v>210.34580020736465</c:v>
                </c:pt>
                <c:pt idx="29">
                  <c:v>211.04226219266272</c:v>
                </c:pt>
                <c:pt idx="30">
                  <c:v>211.61311410122184</c:v>
                </c:pt>
                <c:pt idx="31">
                  <c:v>211.74214484578246</c:v>
                </c:pt>
                <c:pt idx="32">
                  <c:v>211.32146573833745</c:v>
                </c:pt>
                <c:pt idx="33">
                  <c:v>210.7290776521871</c:v>
                </c:pt>
                <c:pt idx="34">
                  <c:v>209.77854340781926</c:v>
                </c:pt>
                <c:pt idx="35">
                  <c:v>208.55717167282819</c:v>
                </c:pt>
                <c:pt idx="36">
                  <c:v>207.0711788794741</c:v>
                </c:pt>
                <c:pt idx="37">
                  <c:v>205.36185730083542</c:v>
                </c:pt>
                <c:pt idx="38">
                  <c:v>203.48677289383096</c:v>
                </c:pt>
                <c:pt idx="39">
                  <c:v>201.34730109323235</c:v>
                </c:pt>
                <c:pt idx="40">
                  <c:v>199.10861356396984</c:v>
                </c:pt>
                <c:pt idx="41">
                  <c:v>196.72594978816613</c:v>
                </c:pt>
                <c:pt idx="42">
                  <c:v>194.18694728614079</c:v>
                </c:pt>
                <c:pt idx="43">
                  <c:v>191.55042364589139</c:v>
                </c:pt>
                <c:pt idx="44">
                  <c:v>188.82828518094163</c:v>
                </c:pt>
                <c:pt idx="45">
                  <c:v>186.03258680849524</c:v>
                </c:pt>
                <c:pt idx="46">
                  <c:v>183.12527338810258</c:v>
                </c:pt>
                <c:pt idx="47">
                  <c:v>180.18548515990335</c:v>
                </c:pt>
                <c:pt idx="48">
                  <c:v>177.24195204618749</c:v>
                </c:pt>
                <c:pt idx="49">
                  <c:v>174.22266565560219</c:v>
                </c:pt>
                <c:pt idx="50">
                  <c:v>171.18858143674035</c:v>
                </c:pt>
                <c:pt idx="51">
                  <c:v>168.15367024460843</c:v>
                </c:pt>
                <c:pt idx="52">
                  <c:v>165.10726830243186</c:v>
                </c:pt>
                <c:pt idx="53">
                  <c:v>162.06371035236225</c:v>
                </c:pt>
                <c:pt idx="54">
                  <c:v>159.01180045621166</c:v>
                </c:pt>
                <c:pt idx="55">
                  <c:v>155.96789806897638</c:v>
                </c:pt>
                <c:pt idx="56">
                  <c:v>152.92862107760885</c:v>
                </c:pt>
                <c:pt idx="57">
                  <c:v>149.91539492163591</c:v>
                </c:pt>
                <c:pt idx="58">
                  <c:v>146.9303314892297</c:v>
                </c:pt>
                <c:pt idx="59">
                  <c:v>143.97055975279247</c:v>
                </c:pt>
                <c:pt idx="60">
                  <c:v>141.0308929476131</c:v>
                </c:pt>
                <c:pt idx="61">
                  <c:v>138.1244937074772</c:v>
                </c:pt>
                <c:pt idx="62">
                  <c:v>135.24444546706937</c:v>
                </c:pt>
                <c:pt idx="63">
                  <c:v>132.3919394713852</c:v>
                </c:pt>
                <c:pt idx="64">
                  <c:v>129.58767916452658</c:v>
                </c:pt>
                <c:pt idx="65">
                  <c:v>126.80031154798864</c:v>
                </c:pt>
                <c:pt idx="66">
                  <c:v>124.06171650708954</c:v>
                </c:pt>
                <c:pt idx="67">
                  <c:v>121.37904326362217</c:v>
                </c:pt>
                <c:pt idx="68">
                  <c:v>118.71708593829553</c:v>
                </c:pt>
                <c:pt idx="69">
                  <c:v>116.09741697091098</c:v>
                </c:pt>
                <c:pt idx="70">
                  <c:v>113.52411813005624</c:v>
                </c:pt>
                <c:pt idx="71">
                  <c:v>110.98865255143042</c:v>
                </c:pt>
                <c:pt idx="72">
                  <c:v>108.49441949131102</c:v>
                </c:pt>
                <c:pt idx="73">
                  <c:v>106.04222326035742</c:v>
                </c:pt>
                <c:pt idx="74">
                  <c:v>103.63217210946843</c:v>
                </c:pt>
                <c:pt idx="75">
                  <c:v>101.26411533427685</c:v>
                </c:pt>
                <c:pt idx="76">
                  <c:v>98.938222217465182</c:v>
                </c:pt>
                <c:pt idx="77">
                  <c:v>96.65450828791802</c:v>
                </c:pt>
                <c:pt idx="78">
                  <c:v>94.412761880638172</c:v>
                </c:pt>
                <c:pt idx="79">
                  <c:v>92.212824742455865</c:v>
                </c:pt>
                <c:pt idx="80">
                  <c:v>90.054593382766001</c:v>
                </c:pt>
                <c:pt idx="81">
                  <c:v>87.937895921293716</c:v>
                </c:pt>
                <c:pt idx="82">
                  <c:v>85.86239387950188</c:v>
                </c:pt>
                <c:pt idx="83">
                  <c:v>83.827756160093926</c:v>
                </c:pt>
                <c:pt idx="84">
                  <c:v>81.833691504334013</c:v>
                </c:pt>
                <c:pt idx="85">
                  <c:v>79.879796447441592</c:v>
                </c:pt>
                <c:pt idx="86">
                  <c:v>77.96566597545106</c:v>
                </c:pt>
                <c:pt idx="87">
                  <c:v>76.090917618922333</c:v>
                </c:pt>
                <c:pt idx="88">
                  <c:v>74.255099295608304</c:v>
                </c:pt>
                <c:pt idx="89">
                  <c:v>72.457725612895956</c:v>
                </c:pt>
                <c:pt idx="90">
                  <c:v>70.69832206493507</c:v>
                </c:pt>
                <c:pt idx="91">
                  <c:v>68.976396172970666</c:v>
                </c:pt>
                <c:pt idx="92">
                  <c:v>67.291419843176172</c:v>
                </c:pt>
                <c:pt idx="93">
                  <c:v>65.64288399564046</c:v>
                </c:pt>
                <c:pt idx="94">
                  <c:v>64.030258877484655</c:v>
                </c:pt>
                <c:pt idx="95">
                  <c:v>62.452993585676978</c:v>
                </c:pt>
                <c:pt idx="96">
                  <c:v>60.91055629677917</c:v>
                </c:pt>
                <c:pt idx="97">
                  <c:v>59.402395417606741</c:v>
                </c:pt>
                <c:pt idx="98">
                  <c:v>57.927939289094184</c:v>
                </c:pt>
                <c:pt idx="99">
                  <c:v>56.486632482270835</c:v>
                </c:pt>
                <c:pt idx="100">
                  <c:v>55.077918404208894</c:v>
                </c:pt>
                <c:pt idx="101">
                  <c:v>53.701231202055098</c:v>
                </c:pt>
                <c:pt idx="102">
                  <c:v>52.356007892332045</c:v>
                </c:pt>
                <c:pt idx="103">
                  <c:v>51.041685540317268</c:v>
                </c:pt>
                <c:pt idx="104">
                  <c:v>49.757702261386413</c:v>
                </c:pt>
                <c:pt idx="105">
                  <c:v>48.5034979370475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431-46DE-A093-6A704C448C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</c:date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32898442798546712"/>
          <c:y val="5.8593746395561863E-2"/>
          <c:w val="0.63135654138833119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21613765697066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62:$A$176</c:f>
              <c:numCache>
                <c:formatCode>m/d/yyyy</c:formatCode>
                <c:ptCount val="115"/>
                <c:pt idx="0">
                  <c:v>44196</c:v>
                </c:pt>
                <c:pt idx="1">
                  <c:v>44197</c:v>
                </c:pt>
                <c:pt idx="2">
                  <c:v>44198</c:v>
                </c:pt>
                <c:pt idx="3">
                  <c:v>44199</c:v>
                </c:pt>
                <c:pt idx="4">
                  <c:v>44200</c:v>
                </c:pt>
                <c:pt idx="5">
                  <c:v>44201</c:v>
                </c:pt>
                <c:pt idx="6">
                  <c:v>44202</c:v>
                </c:pt>
                <c:pt idx="7">
                  <c:v>44203</c:v>
                </c:pt>
                <c:pt idx="8">
                  <c:v>44204</c:v>
                </c:pt>
                <c:pt idx="9">
                  <c:v>44205</c:v>
                </c:pt>
                <c:pt idx="10">
                  <c:v>44206</c:v>
                </c:pt>
                <c:pt idx="11">
                  <c:v>44207</c:v>
                </c:pt>
                <c:pt idx="12">
                  <c:v>44208</c:v>
                </c:pt>
                <c:pt idx="13">
                  <c:v>44209</c:v>
                </c:pt>
                <c:pt idx="14">
                  <c:v>44210</c:v>
                </c:pt>
                <c:pt idx="15">
                  <c:v>44211</c:v>
                </c:pt>
                <c:pt idx="16">
                  <c:v>44212</c:v>
                </c:pt>
                <c:pt idx="17">
                  <c:v>44213</c:v>
                </c:pt>
                <c:pt idx="18">
                  <c:v>44214</c:v>
                </c:pt>
                <c:pt idx="19">
                  <c:v>44215</c:v>
                </c:pt>
                <c:pt idx="20">
                  <c:v>44216</c:v>
                </c:pt>
                <c:pt idx="21">
                  <c:v>44217</c:v>
                </c:pt>
                <c:pt idx="22">
                  <c:v>44218</c:v>
                </c:pt>
                <c:pt idx="23">
                  <c:v>44219</c:v>
                </c:pt>
                <c:pt idx="24">
                  <c:v>44220</c:v>
                </c:pt>
                <c:pt idx="25">
                  <c:v>44221</c:v>
                </c:pt>
                <c:pt idx="26">
                  <c:v>44222</c:v>
                </c:pt>
                <c:pt idx="27">
                  <c:v>44223</c:v>
                </c:pt>
                <c:pt idx="28">
                  <c:v>44224</c:v>
                </c:pt>
                <c:pt idx="29">
                  <c:v>44225</c:v>
                </c:pt>
                <c:pt idx="30">
                  <c:v>44226</c:v>
                </c:pt>
                <c:pt idx="31">
                  <c:v>44227</c:v>
                </c:pt>
                <c:pt idx="32">
                  <c:v>44228</c:v>
                </c:pt>
                <c:pt idx="33">
                  <c:v>44229</c:v>
                </c:pt>
                <c:pt idx="34">
                  <c:v>44230</c:v>
                </c:pt>
                <c:pt idx="35">
                  <c:v>44231</c:v>
                </c:pt>
                <c:pt idx="36">
                  <c:v>44232</c:v>
                </c:pt>
                <c:pt idx="37">
                  <c:v>44233</c:v>
                </c:pt>
                <c:pt idx="38">
                  <c:v>44234</c:v>
                </c:pt>
                <c:pt idx="39">
                  <c:v>44235</c:v>
                </c:pt>
                <c:pt idx="40">
                  <c:v>44236</c:v>
                </c:pt>
                <c:pt idx="41">
                  <c:v>44237</c:v>
                </c:pt>
                <c:pt idx="42">
                  <c:v>44238</c:v>
                </c:pt>
                <c:pt idx="43">
                  <c:v>44239</c:v>
                </c:pt>
                <c:pt idx="44">
                  <c:v>44240</c:v>
                </c:pt>
                <c:pt idx="45">
                  <c:v>44241</c:v>
                </c:pt>
                <c:pt idx="46">
                  <c:v>44242</c:v>
                </c:pt>
                <c:pt idx="47">
                  <c:v>44243</c:v>
                </c:pt>
                <c:pt idx="48">
                  <c:v>44244</c:v>
                </c:pt>
                <c:pt idx="49">
                  <c:v>44245</c:v>
                </c:pt>
                <c:pt idx="50">
                  <c:v>44246</c:v>
                </c:pt>
                <c:pt idx="51">
                  <c:v>44247</c:v>
                </c:pt>
                <c:pt idx="52">
                  <c:v>44248</c:v>
                </c:pt>
                <c:pt idx="53">
                  <c:v>44249</c:v>
                </c:pt>
                <c:pt idx="54">
                  <c:v>44250</c:v>
                </c:pt>
                <c:pt idx="55">
                  <c:v>44251</c:v>
                </c:pt>
                <c:pt idx="56">
                  <c:v>44252</c:v>
                </c:pt>
                <c:pt idx="57">
                  <c:v>44253</c:v>
                </c:pt>
                <c:pt idx="58">
                  <c:v>44254</c:v>
                </c:pt>
                <c:pt idx="59">
                  <c:v>44255</c:v>
                </c:pt>
                <c:pt idx="60">
                  <c:v>44256</c:v>
                </c:pt>
                <c:pt idx="61">
                  <c:v>44257</c:v>
                </c:pt>
                <c:pt idx="62">
                  <c:v>44258</c:v>
                </c:pt>
                <c:pt idx="63">
                  <c:v>44259</c:v>
                </c:pt>
                <c:pt idx="64">
                  <c:v>44260</c:v>
                </c:pt>
                <c:pt idx="65">
                  <c:v>44261</c:v>
                </c:pt>
                <c:pt idx="66">
                  <c:v>44262</c:v>
                </c:pt>
                <c:pt idx="67">
                  <c:v>44263</c:v>
                </c:pt>
                <c:pt idx="68">
                  <c:v>44264</c:v>
                </c:pt>
                <c:pt idx="69">
                  <c:v>44265</c:v>
                </c:pt>
                <c:pt idx="70">
                  <c:v>44266</c:v>
                </c:pt>
                <c:pt idx="71">
                  <c:v>44267</c:v>
                </c:pt>
                <c:pt idx="72">
                  <c:v>44268</c:v>
                </c:pt>
                <c:pt idx="73">
                  <c:v>44269</c:v>
                </c:pt>
                <c:pt idx="74">
                  <c:v>44270</c:v>
                </c:pt>
                <c:pt idx="75">
                  <c:v>44271</c:v>
                </c:pt>
                <c:pt idx="76">
                  <c:v>44272</c:v>
                </c:pt>
                <c:pt idx="77">
                  <c:v>44273</c:v>
                </c:pt>
                <c:pt idx="78">
                  <c:v>44274</c:v>
                </c:pt>
                <c:pt idx="79">
                  <c:v>44275</c:v>
                </c:pt>
                <c:pt idx="80">
                  <c:v>44276</c:v>
                </c:pt>
                <c:pt idx="81">
                  <c:v>44277</c:v>
                </c:pt>
                <c:pt idx="82">
                  <c:v>44278</c:v>
                </c:pt>
                <c:pt idx="83">
                  <c:v>44279</c:v>
                </c:pt>
                <c:pt idx="84">
                  <c:v>44280</c:v>
                </c:pt>
                <c:pt idx="85">
                  <c:v>44281</c:v>
                </c:pt>
                <c:pt idx="86">
                  <c:v>44282</c:v>
                </c:pt>
                <c:pt idx="87">
                  <c:v>44283</c:v>
                </c:pt>
                <c:pt idx="88">
                  <c:v>44284</c:v>
                </c:pt>
                <c:pt idx="89">
                  <c:v>44285</c:v>
                </c:pt>
                <c:pt idx="90">
                  <c:v>44286</c:v>
                </c:pt>
                <c:pt idx="91">
                  <c:v>44287</c:v>
                </c:pt>
                <c:pt idx="92">
                  <c:v>44288</c:v>
                </c:pt>
                <c:pt idx="93">
                  <c:v>44289</c:v>
                </c:pt>
                <c:pt idx="94">
                  <c:v>44290</c:v>
                </c:pt>
                <c:pt idx="95">
                  <c:v>44291</c:v>
                </c:pt>
                <c:pt idx="96">
                  <c:v>44292</c:v>
                </c:pt>
                <c:pt idx="97">
                  <c:v>44293</c:v>
                </c:pt>
                <c:pt idx="98">
                  <c:v>44294</c:v>
                </c:pt>
                <c:pt idx="99">
                  <c:v>44295</c:v>
                </c:pt>
                <c:pt idx="100">
                  <c:v>44296</c:v>
                </c:pt>
                <c:pt idx="101">
                  <c:v>44297</c:v>
                </c:pt>
                <c:pt idx="102">
                  <c:v>44298</c:v>
                </c:pt>
                <c:pt idx="103">
                  <c:v>44299</c:v>
                </c:pt>
                <c:pt idx="104">
                  <c:v>44300</c:v>
                </c:pt>
                <c:pt idx="105">
                  <c:v>44301</c:v>
                </c:pt>
                <c:pt idx="106">
                  <c:v>44302</c:v>
                </c:pt>
                <c:pt idx="107">
                  <c:v>44303</c:v>
                </c:pt>
                <c:pt idx="108">
                  <c:v>44304</c:v>
                </c:pt>
                <c:pt idx="109">
                  <c:v>44305</c:v>
                </c:pt>
                <c:pt idx="110">
                  <c:v>44306</c:v>
                </c:pt>
                <c:pt idx="111">
                  <c:v>44307</c:v>
                </c:pt>
                <c:pt idx="112">
                  <c:v>44308</c:v>
                </c:pt>
                <c:pt idx="113">
                  <c:v>44309</c:v>
                </c:pt>
                <c:pt idx="114">
                  <c:v>44310</c:v>
                </c:pt>
              </c:numCache>
            </c:numRef>
          </c:cat>
          <c:val>
            <c:numRef>
              <c:f>Sheet1!$B$62:$B$176</c:f>
              <c:numCache>
                <c:formatCode>General</c:formatCode>
                <c:ptCount val="115"/>
                <c:pt idx="0">
                  <c:v>13307</c:v>
                </c:pt>
                <c:pt idx="1">
                  <c:v>3446</c:v>
                </c:pt>
                <c:pt idx="2">
                  <c:v>4985</c:v>
                </c:pt>
                <c:pt idx="3">
                  <c:v>6268</c:v>
                </c:pt>
                <c:pt idx="4">
                  <c:v>12956</c:v>
                </c:pt>
                <c:pt idx="5">
                  <c:v>17401</c:v>
                </c:pt>
                <c:pt idx="6">
                  <c:v>17771</c:v>
                </c:pt>
                <c:pt idx="7">
                  <c:v>14882</c:v>
                </c:pt>
                <c:pt idx="8">
                  <c:v>13099</c:v>
                </c:pt>
                <c:pt idx="9">
                  <c:v>8437</c:v>
                </c:pt>
                <c:pt idx="10">
                  <c:v>4313</c:v>
                </c:pt>
                <c:pt idx="11">
                  <c:v>9386</c:v>
                </c:pt>
                <c:pt idx="12">
                  <c:v>10811</c:v>
                </c:pt>
                <c:pt idx="13">
                  <c:v>10920</c:v>
                </c:pt>
                <c:pt idx="14">
                  <c:v>8087</c:v>
                </c:pt>
                <c:pt idx="15">
                  <c:v>9301</c:v>
                </c:pt>
                <c:pt idx="16">
                  <c:v>5241</c:v>
                </c:pt>
                <c:pt idx="17">
                  <c:v>2641</c:v>
                </c:pt>
                <c:pt idx="18">
                  <c:v>7668</c:v>
                </c:pt>
                <c:pt idx="19">
                  <c:v>9610</c:v>
                </c:pt>
                <c:pt idx="20">
                  <c:v>8215</c:v>
                </c:pt>
                <c:pt idx="21">
                  <c:v>7532</c:v>
                </c:pt>
                <c:pt idx="22">
                  <c:v>8468</c:v>
                </c:pt>
                <c:pt idx="23">
                  <c:v>4239</c:v>
                </c:pt>
                <c:pt idx="24">
                  <c:v>2394</c:v>
                </c:pt>
                <c:pt idx="25">
                  <c:v>6974</c:v>
                </c:pt>
                <c:pt idx="26">
                  <c:v>9195</c:v>
                </c:pt>
                <c:pt idx="27">
                  <c:v>8504</c:v>
                </c:pt>
                <c:pt idx="28">
                  <c:v>8010</c:v>
                </c:pt>
                <c:pt idx="29">
                  <c:v>8053</c:v>
                </c:pt>
                <c:pt idx="30">
                  <c:v>4055</c:v>
                </c:pt>
                <c:pt idx="31">
                  <c:v>2573</c:v>
                </c:pt>
                <c:pt idx="32">
                  <c:v>7217</c:v>
                </c:pt>
                <c:pt idx="33">
                  <c:v>9148</c:v>
                </c:pt>
                <c:pt idx="34">
                  <c:v>9667</c:v>
                </c:pt>
                <c:pt idx="35">
                  <c:v>8107</c:v>
                </c:pt>
                <c:pt idx="36">
                  <c:v>8622</c:v>
                </c:pt>
                <c:pt idx="37">
                  <c:v>4820</c:v>
                </c:pt>
                <c:pt idx="38">
                  <c:v>2451</c:v>
                </c:pt>
                <c:pt idx="39">
                  <c:v>7777</c:v>
                </c:pt>
                <c:pt idx="40">
                  <c:v>10283</c:v>
                </c:pt>
                <c:pt idx="41">
                  <c:v>9538</c:v>
                </c:pt>
                <c:pt idx="42">
                  <c:v>9018</c:v>
                </c:pt>
                <c:pt idx="43">
                  <c:v>8830</c:v>
                </c:pt>
                <c:pt idx="44">
                  <c:v>5141</c:v>
                </c:pt>
                <c:pt idx="45">
                  <c:v>2880</c:v>
                </c:pt>
                <c:pt idx="46">
                  <c:v>8905</c:v>
                </c:pt>
                <c:pt idx="47">
                  <c:v>12608</c:v>
                </c:pt>
                <c:pt idx="48">
                  <c:v>10939</c:v>
                </c:pt>
                <c:pt idx="49">
                  <c:v>11703</c:v>
                </c:pt>
                <c:pt idx="50">
                  <c:v>11288</c:v>
                </c:pt>
                <c:pt idx="51">
                  <c:v>6775</c:v>
                </c:pt>
                <c:pt idx="52">
                  <c:v>4068</c:v>
                </c:pt>
                <c:pt idx="53">
                  <c:v>11408</c:v>
                </c:pt>
                <c:pt idx="54">
                  <c:v>15840</c:v>
                </c:pt>
                <c:pt idx="55">
                  <c:v>13796</c:v>
                </c:pt>
                <c:pt idx="56">
                  <c:v>14588</c:v>
                </c:pt>
                <c:pt idx="57">
                  <c:v>14776</c:v>
                </c:pt>
                <c:pt idx="58">
                  <c:v>7824</c:v>
                </c:pt>
                <c:pt idx="59">
                  <c:v>4587</c:v>
                </c:pt>
                <c:pt idx="60">
                  <c:v>12325</c:v>
                </c:pt>
                <c:pt idx="61">
                  <c:v>16777</c:v>
                </c:pt>
                <c:pt idx="62">
                  <c:v>15237</c:v>
                </c:pt>
                <c:pt idx="63">
                  <c:v>14649</c:v>
                </c:pt>
                <c:pt idx="64">
                  <c:v>13169</c:v>
                </c:pt>
                <c:pt idx="65">
                  <c:v>9130</c:v>
                </c:pt>
                <c:pt idx="66">
                  <c:v>3982</c:v>
                </c:pt>
                <c:pt idx="67">
                  <c:v>10653</c:v>
                </c:pt>
                <c:pt idx="68">
                  <c:v>15358</c:v>
                </c:pt>
                <c:pt idx="69">
                  <c:v>14535</c:v>
                </c:pt>
                <c:pt idx="70">
                  <c:v>11244</c:v>
                </c:pt>
                <c:pt idx="71">
                  <c:v>14958</c:v>
                </c:pt>
                <c:pt idx="72">
                  <c:v>6956</c:v>
                </c:pt>
                <c:pt idx="73">
                  <c:v>3332</c:v>
                </c:pt>
                <c:pt idx="74">
                  <c:v>10628</c:v>
                </c:pt>
                <c:pt idx="75">
                  <c:v>14028</c:v>
                </c:pt>
                <c:pt idx="76">
                  <c:v>12027</c:v>
                </c:pt>
                <c:pt idx="77">
                  <c:v>10660</c:v>
                </c:pt>
                <c:pt idx="78">
                  <c:v>9711</c:v>
                </c:pt>
                <c:pt idx="79">
                  <c:v>5466</c:v>
                </c:pt>
                <c:pt idx="80">
                  <c:v>2389</c:v>
                </c:pt>
                <c:pt idx="81">
                  <c:v>8240</c:v>
                </c:pt>
                <c:pt idx="82">
                  <c:v>10968</c:v>
                </c:pt>
                <c:pt idx="83">
                  <c:v>8847</c:v>
                </c:pt>
                <c:pt idx="84">
                  <c:v>7925</c:v>
                </c:pt>
                <c:pt idx="85">
                  <c:v>7710</c:v>
                </c:pt>
                <c:pt idx="86">
                  <c:v>3969</c:v>
                </c:pt>
                <c:pt idx="87">
                  <c:v>1743</c:v>
                </c:pt>
                <c:pt idx="88">
                  <c:v>6934</c:v>
                </c:pt>
                <c:pt idx="89">
                  <c:v>8629</c:v>
                </c:pt>
                <c:pt idx="90">
                  <c:v>7262</c:v>
                </c:pt>
                <c:pt idx="91">
                  <c:v>6244</c:v>
                </c:pt>
                <c:pt idx="92">
                  <c:v>3837</c:v>
                </c:pt>
                <c:pt idx="93">
                  <c:v>2160</c:v>
                </c:pt>
                <c:pt idx="94">
                  <c:v>1925</c:v>
                </c:pt>
                <c:pt idx="95">
                  <c:v>1419</c:v>
                </c:pt>
                <c:pt idx="96">
                  <c:v>5580</c:v>
                </c:pt>
                <c:pt idx="97">
                  <c:v>7051</c:v>
                </c:pt>
                <c:pt idx="98">
                  <c:v>5282</c:v>
                </c:pt>
                <c:pt idx="99">
                  <c:v>4820</c:v>
                </c:pt>
                <c:pt idx="100">
                  <c:v>2204</c:v>
                </c:pt>
                <c:pt idx="101">
                  <c:v>985</c:v>
                </c:pt>
                <c:pt idx="102">
                  <c:v>3868</c:v>
                </c:pt>
                <c:pt idx="103">
                  <c:v>5056</c:v>
                </c:pt>
                <c:pt idx="104">
                  <c:v>3714</c:v>
                </c:pt>
                <c:pt idx="105">
                  <c:v>3264</c:v>
                </c:pt>
                <c:pt idx="106">
                  <c:v>3215</c:v>
                </c:pt>
                <c:pt idx="107">
                  <c:v>1541</c:v>
                </c:pt>
                <c:pt idx="108">
                  <c:v>833</c:v>
                </c:pt>
                <c:pt idx="109">
                  <c:v>3335</c:v>
                </c:pt>
                <c:pt idx="110">
                  <c:v>3815</c:v>
                </c:pt>
                <c:pt idx="111">
                  <c:v>2950</c:v>
                </c:pt>
                <c:pt idx="112">
                  <c:v>2629</c:v>
                </c:pt>
                <c:pt idx="113">
                  <c:v>2595</c:v>
                </c:pt>
                <c:pt idx="114">
                  <c:v>13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D9B-4FBB-A2AC-E8BB2DFAE1E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ax val="28000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B$93:$B$274</c:f>
              <c:numCache>
                <c:formatCode>0</c:formatCode>
                <c:ptCount val="182"/>
                <c:pt idx="0">
                  <c:v>5180</c:v>
                </c:pt>
                <c:pt idx="1">
                  <c:v>4561</c:v>
                </c:pt>
                <c:pt idx="2">
                  <c:v>4624</c:v>
                </c:pt>
                <c:pt idx="3">
                  <c:v>4747</c:v>
                </c:pt>
                <c:pt idx="4">
                  <c:v>3312</c:v>
                </c:pt>
                <c:pt idx="5">
                  <c:v>1112</c:v>
                </c:pt>
                <c:pt idx="6">
                  <c:v>4251</c:v>
                </c:pt>
                <c:pt idx="7">
                  <c:v>5855</c:v>
                </c:pt>
                <c:pt idx="8">
                  <c:v>6414</c:v>
                </c:pt>
                <c:pt idx="9">
                  <c:v>5872</c:v>
                </c:pt>
                <c:pt idx="10">
                  <c:v>6209</c:v>
                </c:pt>
                <c:pt idx="11">
                  <c:v>3655</c:v>
                </c:pt>
                <c:pt idx="12">
                  <c:v>1998</c:v>
                </c:pt>
                <c:pt idx="13">
                  <c:v>5176</c:v>
                </c:pt>
                <c:pt idx="14">
                  <c:v>7908</c:v>
                </c:pt>
                <c:pt idx="15">
                  <c:v>8258</c:v>
                </c:pt>
                <c:pt idx="16">
                  <c:v>7614</c:v>
                </c:pt>
                <c:pt idx="17">
                  <c:v>8838</c:v>
                </c:pt>
                <c:pt idx="18">
                  <c:v>5326</c:v>
                </c:pt>
                <c:pt idx="19">
                  <c:v>3403</c:v>
                </c:pt>
                <c:pt idx="20">
                  <c:v>7950</c:v>
                </c:pt>
                <c:pt idx="21">
                  <c:v>10913</c:v>
                </c:pt>
                <c:pt idx="22">
                  <c:v>14139</c:v>
                </c:pt>
                <c:pt idx="23">
                  <c:v>4373</c:v>
                </c:pt>
                <c:pt idx="24">
                  <c:v>2671</c:v>
                </c:pt>
                <c:pt idx="25">
                  <c:v>3031</c:v>
                </c:pt>
                <c:pt idx="26">
                  <c:v>3782</c:v>
                </c:pt>
                <c:pt idx="27">
                  <c:v>10937</c:v>
                </c:pt>
                <c:pt idx="28">
                  <c:v>16475</c:v>
                </c:pt>
                <c:pt idx="29">
                  <c:v>17061</c:v>
                </c:pt>
                <c:pt idx="30">
                  <c:v>13307</c:v>
                </c:pt>
                <c:pt idx="31" formatCode="General">
                  <c:v>3446</c:v>
                </c:pt>
                <c:pt idx="32" formatCode="General">
                  <c:v>4985</c:v>
                </c:pt>
                <c:pt idx="33" formatCode="General">
                  <c:v>6268</c:v>
                </c:pt>
                <c:pt idx="34" formatCode="General">
                  <c:v>12956</c:v>
                </c:pt>
                <c:pt idx="35" formatCode="General">
                  <c:v>17401</c:v>
                </c:pt>
                <c:pt idx="36" formatCode="General">
                  <c:v>17771</c:v>
                </c:pt>
                <c:pt idx="37" formatCode="General">
                  <c:v>14882</c:v>
                </c:pt>
                <c:pt idx="38" formatCode="General">
                  <c:v>13099</c:v>
                </c:pt>
                <c:pt idx="39" formatCode="General">
                  <c:v>8437</c:v>
                </c:pt>
                <c:pt idx="40" formatCode="General">
                  <c:v>4313</c:v>
                </c:pt>
                <c:pt idx="41" formatCode="General">
                  <c:v>9386</c:v>
                </c:pt>
                <c:pt idx="42" formatCode="General">
                  <c:v>10811</c:v>
                </c:pt>
                <c:pt idx="43" formatCode="General">
                  <c:v>10920</c:v>
                </c:pt>
                <c:pt idx="44" formatCode="General">
                  <c:v>8087</c:v>
                </c:pt>
                <c:pt idx="45" formatCode="General">
                  <c:v>9301</c:v>
                </c:pt>
                <c:pt idx="46" formatCode="General">
                  <c:v>5241</c:v>
                </c:pt>
                <c:pt idx="47" formatCode="General">
                  <c:v>2641</c:v>
                </c:pt>
                <c:pt idx="48" formatCode="General">
                  <c:v>7668</c:v>
                </c:pt>
                <c:pt idx="49" formatCode="General">
                  <c:v>9610</c:v>
                </c:pt>
                <c:pt idx="50" formatCode="General">
                  <c:v>8215</c:v>
                </c:pt>
                <c:pt idx="51" formatCode="General">
                  <c:v>7532</c:v>
                </c:pt>
                <c:pt idx="52" formatCode="General">
                  <c:v>8468</c:v>
                </c:pt>
                <c:pt idx="53" formatCode="General">
                  <c:v>4239</c:v>
                </c:pt>
                <c:pt idx="54" formatCode="General">
                  <c:v>2394</c:v>
                </c:pt>
                <c:pt idx="55" formatCode="General">
                  <c:v>6974</c:v>
                </c:pt>
                <c:pt idx="56" formatCode="General">
                  <c:v>9195</c:v>
                </c:pt>
                <c:pt idx="57" formatCode="General">
                  <c:v>8504</c:v>
                </c:pt>
                <c:pt idx="58" formatCode="General">
                  <c:v>8010</c:v>
                </c:pt>
                <c:pt idx="59" formatCode="General">
                  <c:v>8053</c:v>
                </c:pt>
                <c:pt idx="60" formatCode="General">
                  <c:v>4055</c:v>
                </c:pt>
                <c:pt idx="61" formatCode="General">
                  <c:v>2573</c:v>
                </c:pt>
                <c:pt idx="62" formatCode="General">
                  <c:v>7217</c:v>
                </c:pt>
                <c:pt idx="63" formatCode="General">
                  <c:v>9148</c:v>
                </c:pt>
                <c:pt idx="64" formatCode="General">
                  <c:v>9667</c:v>
                </c:pt>
                <c:pt idx="65" formatCode="General">
                  <c:v>8107</c:v>
                </c:pt>
                <c:pt idx="66" formatCode="General">
                  <c:v>8622</c:v>
                </c:pt>
                <c:pt idx="67" formatCode="General">
                  <c:v>4820</c:v>
                </c:pt>
                <c:pt idx="68" formatCode="General">
                  <c:v>2451</c:v>
                </c:pt>
                <c:pt idx="69" formatCode="General">
                  <c:v>7777</c:v>
                </c:pt>
                <c:pt idx="70" formatCode="General">
                  <c:v>10283</c:v>
                </c:pt>
                <c:pt idx="71" formatCode="General">
                  <c:v>9538</c:v>
                </c:pt>
                <c:pt idx="72" formatCode="General">
                  <c:v>9018</c:v>
                </c:pt>
                <c:pt idx="73" formatCode="General">
                  <c:v>8830</c:v>
                </c:pt>
                <c:pt idx="74" formatCode="General">
                  <c:v>5141</c:v>
                </c:pt>
                <c:pt idx="75" formatCode="General">
                  <c:v>2880</c:v>
                </c:pt>
                <c:pt idx="76" formatCode="General">
                  <c:v>8905</c:v>
                </c:pt>
                <c:pt idx="77" formatCode="General">
                  <c:v>12608</c:v>
                </c:pt>
                <c:pt idx="78" formatCode="General">
                  <c:v>10939</c:v>
                </c:pt>
                <c:pt idx="79" formatCode="General">
                  <c:v>11703</c:v>
                </c:pt>
                <c:pt idx="80" formatCode="General">
                  <c:v>11288</c:v>
                </c:pt>
                <c:pt idx="81" formatCode="General">
                  <c:v>6775</c:v>
                </c:pt>
                <c:pt idx="82" formatCode="General">
                  <c:v>4068</c:v>
                </c:pt>
                <c:pt idx="83" formatCode="General">
                  <c:v>11408</c:v>
                </c:pt>
                <c:pt idx="84" formatCode="General">
                  <c:v>15840</c:v>
                </c:pt>
                <c:pt idx="85" formatCode="General">
                  <c:v>13796</c:v>
                </c:pt>
                <c:pt idx="86" formatCode="General">
                  <c:v>14588</c:v>
                </c:pt>
                <c:pt idx="87" formatCode="General">
                  <c:v>14776</c:v>
                </c:pt>
                <c:pt idx="88" formatCode="General">
                  <c:v>7824</c:v>
                </c:pt>
                <c:pt idx="89" formatCode="General">
                  <c:v>4587</c:v>
                </c:pt>
                <c:pt idx="90" formatCode="General">
                  <c:v>12325</c:v>
                </c:pt>
                <c:pt idx="91" formatCode="General">
                  <c:v>16777</c:v>
                </c:pt>
                <c:pt idx="92" formatCode="General">
                  <c:v>15237</c:v>
                </c:pt>
                <c:pt idx="93" formatCode="General">
                  <c:v>14649</c:v>
                </c:pt>
                <c:pt idx="94" formatCode="General">
                  <c:v>13169</c:v>
                </c:pt>
                <c:pt idx="95" formatCode="General">
                  <c:v>9130</c:v>
                </c:pt>
                <c:pt idx="96" formatCode="General">
                  <c:v>3982</c:v>
                </c:pt>
                <c:pt idx="97" formatCode="General">
                  <c:v>10653</c:v>
                </c:pt>
                <c:pt idx="98" formatCode="General">
                  <c:v>15358</c:v>
                </c:pt>
                <c:pt idx="99" formatCode="General">
                  <c:v>14535</c:v>
                </c:pt>
                <c:pt idx="100" formatCode="General">
                  <c:v>11244</c:v>
                </c:pt>
                <c:pt idx="101" formatCode="General">
                  <c:v>14958</c:v>
                </c:pt>
                <c:pt idx="102" formatCode="General">
                  <c:v>6956</c:v>
                </c:pt>
                <c:pt idx="103" formatCode="General">
                  <c:v>3332</c:v>
                </c:pt>
                <c:pt idx="104" formatCode="General">
                  <c:v>10628</c:v>
                </c:pt>
                <c:pt idx="105" formatCode="General">
                  <c:v>14028</c:v>
                </c:pt>
                <c:pt idx="106" formatCode="General">
                  <c:v>12027</c:v>
                </c:pt>
                <c:pt idx="107" formatCode="General">
                  <c:v>10660</c:v>
                </c:pt>
                <c:pt idx="108" formatCode="General">
                  <c:v>9711</c:v>
                </c:pt>
                <c:pt idx="109" formatCode="General">
                  <c:v>5466</c:v>
                </c:pt>
                <c:pt idx="110" formatCode="General">
                  <c:v>2389</c:v>
                </c:pt>
                <c:pt idx="111" formatCode="General">
                  <c:v>8240</c:v>
                </c:pt>
                <c:pt idx="112" formatCode="General">
                  <c:v>10968</c:v>
                </c:pt>
                <c:pt idx="113" formatCode="General">
                  <c:v>8847</c:v>
                </c:pt>
                <c:pt idx="114" formatCode="General">
                  <c:v>7925</c:v>
                </c:pt>
                <c:pt idx="115" formatCode="General">
                  <c:v>7710</c:v>
                </c:pt>
                <c:pt idx="116" formatCode="General">
                  <c:v>3969</c:v>
                </c:pt>
                <c:pt idx="117" formatCode="General">
                  <c:v>1743</c:v>
                </c:pt>
                <c:pt idx="118" formatCode="General">
                  <c:v>6934</c:v>
                </c:pt>
                <c:pt idx="119" formatCode="General">
                  <c:v>8629</c:v>
                </c:pt>
                <c:pt idx="120" formatCode="General">
                  <c:v>7262</c:v>
                </c:pt>
                <c:pt idx="121" formatCode="General">
                  <c:v>6244</c:v>
                </c:pt>
                <c:pt idx="122" formatCode="General">
                  <c:v>3837</c:v>
                </c:pt>
                <c:pt idx="123" formatCode="General">
                  <c:v>2160</c:v>
                </c:pt>
                <c:pt idx="124" formatCode="General">
                  <c:v>1925</c:v>
                </c:pt>
                <c:pt idx="125" formatCode="General">
                  <c:v>1419</c:v>
                </c:pt>
                <c:pt idx="126" formatCode="General">
                  <c:v>5580</c:v>
                </c:pt>
                <c:pt idx="127" formatCode="General">
                  <c:v>7051</c:v>
                </c:pt>
                <c:pt idx="128" formatCode="General">
                  <c:v>5282</c:v>
                </c:pt>
                <c:pt idx="129" formatCode="General">
                  <c:v>4820</c:v>
                </c:pt>
                <c:pt idx="130" formatCode="General">
                  <c:v>2204</c:v>
                </c:pt>
                <c:pt idx="131" formatCode="General">
                  <c:v>985</c:v>
                </c:pt>
                <c:pt idx="132" formatCode="General">
                  <c:v>3868</c:v>
                </c:pt>
                <c:pt idx="133" formatCode="General">
                  <c:v>5056</c:v>
                </c:pt>
                <c:pt idx="134" formatCode="General">
                  <c:v>3714</c:v>
                </c:pt>
                <c:pt idx="135" formatCode="General">
                  <c:v>3264</c:v>
                </c:pt>
                <c:pt idx="136" formatCode="General">
                  <c:v>3215</c:v>
                </c:pt>
                <c:pt idx="137" formatCode="General">
                  <c:v>1541</c:v>
                </c:pt>
                <c:pt idx="138" formatCode="General">
                  <c:v>833</c:v>
                </c:pt>
                <c:pt idx="139" formatCode="General">
                  <c:v>3335</c:v>
                </c:pt>
                <c:pt idx="140" formatCode="General">
                  <c:v>3815</c:v>
                </c:pt>
                <c:pt idx="141" formatCode="General">
                  <c:v>2950</c:v>
                </c:pt>
                <c:pt idx="142" formatCode="General">
                  <c:v>2629</c:v>
                </c:pt>
                <c:pt idx="143" formatCode="General">
                  <c:v>2595</c:v>
                </c:pt>
                <c:pt idx="144" formatCode="General">
                  <c:v>13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7D6-49D4-BBCA-40283A14DE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C$93:$C$274</c:f>
              <c:numCache>
                <c:formatCode>General</c:formatCode>
                <c:ptCount val="182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7D6-49D4-BBCA-40283A14DEDD}"/>
            </c:ext>
          </c:extLst>
        </c:ser>
        <c:ser>
          <c:idx val="4"/>
          <c:order val="2"/>
          <c:tx>
            <c:strRef>
              <c:f>Sheet1!$F$1</c:f>
              <c:strCache>
                <c:ptCount val="1"/>
                <c:pt idx="0">
                  <c:v>1.10</c:v>
                </c:pt>
              </c:strCache>
            </c:strRef>
          </c:tx>
          <c:spPr>
            <a:ln w="28575" cap="rnd">
              <a:solidFill>
                <a:srgbClr val="00CD61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F$93:$F$274</c:f>
              <c:numCache>
                <c:formatCode>General</c:formatCode>
                <c:ptCount val="182"/>
                <c:pt idx="88">
                  <c:v>13565.398587364976</c:v>
                </c:pt>
                <c:pt idx="89">
                  <c:v>13597.620772138698</c:v>
                </c:pt>
                <c:pt idx="90">
                  <c:v>13548.918318527833</c:v>
                </c:pt>
                <c:pt idx="91">
                  <c:v>13455.939457546039</c:v>
                </c:pt>
                <c:pt idx="92">
                  <c:v>13336.901120744071</c:v>
                </c:pt>
                <c:pt idx="93">
                  <c:v>13201.041345989797</c:v>
                </c:pt>
                <c:pt idx="94">
                  <c:v>13053.250245753177</c:v>
                </c:pt>
                <c:pt idx="95">
                  <c:v>12896.318961767711</c:v>
                </c:pt>
                <c:pt idx="96">
                  <c:v>12732.020108445684</c:v>
                </c:pt>
                <c:pt idx="97">
                  <c:v>12561.620250351514</c:v>
                </c:pt>
                <c:pt idx="98">
                  <c:v>12386.119621972726</c:v>
                </c:pt>
                <c:pt idx="99">
                  <c:v>12206.362920696471</c:v>
                </c:pt>
                <c:pt idx="100">
                  <c:v>12023.090421835983</c:v>
                </c:pt>
                <c:pt idx="101">
                  <c:v>11836.962221911288</c:v>
                </c:pt>
                <c:pt idx="102">
                  <c:v>11648.570807348526</c:v>
                </c:pt>
                <c:pt idx="103">
                  <c:v>11458.448766482525</c:v>
                </c:pt>
                <c:pt idx="104">
                  <c:v>11267.074560520114</c:v>
                </c:pt>
                <c:pt idx="105">
                  <c:v>11074.877508179043</c:v>
                </c:pt>
                <c:pt idx="106">
                  <c:v>10882.242381785769</c:v>
                </c:pt>
                <c:pt idx="107">
                  <c:v>10689.513712989812</c:v>
                </c:pt>
                <c:pt idx="108">
                  <c:v>10496.999805791134</c:v>
                </c:pt>
                <c:pt idx="109">
                  <c:v>10304.976434519584</c:v>
                </c:pt>
                <c:pt idx="110">
                  <c:v>10113.69021224228</c:v>
                </c:pt>
                <c:pt idx="111">
                  <c:v>9923.361629071529</c:v>
                </c:pt>
                <c:pt idx="112">
                  <c:v>9734.1877720736393</c:v>
                </c:pt>
                <c:pt idx="113">
                  <c:v>9546.3447468654849</c:v>
                </c:pt>
                <c:pt idx="114">
                  <c:v>9359.989825699653</c:v>
                </c:pt>
                <c:pt idx="115">
                  <c:v>9175.2633487234507</c:v>
                </c:pt>
                <c:pt idx="116">
                  <c:v>8992.2904050442994</c:v>
                </c:pt>
                <c:pt idx="117">
                  <c:v>8811.1823189776806</c:v>
                </c:pt>
                <c:pt idx="118">
                  <c:v>8632.0379649301503</c:v>
                </c:pt>
                <c:pt idx="119">
                  <c:v>8454.9449321447137</c:v>
                </c:pt>
                <c:pt idx="120">
                  <c:v>8279.9805582433582</c:v>
                </c:pt>
                <c:pt idx="121">
                  <c:v>8107.2128482826047</c:v>
                </c:pt>
                <c:pt idx="122">
                  <c:v>7936.701293970641</c:v>
                </c:pt>
                <c:pt idx="123">
                  <c:v>7768.4976058159664</c:v>
                </c:pt>
                <c:pt idx="124">
                  <c:v>7602.6463692990101</c:v>
                </c:pt>
                <c:pt idx="125">
                  <c:v>7439.1856346759896</c:v>
                </c:pt>
                <c:pt idx="126">
                  <c:v>7278.1474487267014</c:v>
                </c:pt>
                <c:pt idx="127">
                  <c:v>7119.5583356283587</c:v>
                </c:pt>
                <c:pt idx="128">
                  <c:v>6963.4397331588161</c:v>
                </c:pt>
                <c:pt idx="129">
                  <c:v>6809.8083895867212</c:v>
                </c:pt>
                <c:pt idx="130">
                  <c:v>6658.6767258768996</c:v>
                </c:pt>
                <c:pt idx="131">
                  <c:v>6510.0531672116349</c:v>
                </c:pt>
                <c:pt idx="132">
                  <c:v>6363.942447288402</c:v>
                </c:pt>
                <c:pt idx="133">
                  <c:v>6220.3458883906142</c:v>
                </c:pt>
                <c:pt idx="134">
                  <c:v>6079.2616598290442</c:v>
                </c:pt>
                <c:pt idx="135">
                  <c:v>5940.6850170089601</c:v>
                </c:pt>
                <c:pt idx="136">
                  <c:v>5804.6085230835033</c:v>
                </c:pt>
                <c:pt idx="137">
                  <c:v>5671.0222549007694</c:v>
                </c:pt>
                <c:pt idx="138">
                  <c:v>5539.9139947345457</c:v>
                </c:pt>
                <c:pt idx="139">
                  <c:v>5411.2694091014473</c:v>
                </c:pt>
                <c:pt idx="140">
                  <c:v>5285.072215806259</c:v>
                </c:pt>
                <c:pt idx="141">
                  <c:v>5161.3043402186613</c:v>
                </c:pt>
                <c:pt idx="142">
                  <c:v>5039.9460616651231</c:v>
                </c:pt>
                <c:pt idx="143">
                  <c:v>4920.9761507168096</c:v>
                </c:pt>
                <c:pt idx="144">
                  <c:v>4804.3719980655906</c:v>
                </c:pt>
                <c:pt idx="145">
                  <c:v>4690.1097356035389</c:v>
                </c:pt>
                <c:pt idx="146">
                  <c:v>4578.1643502550887</c:v>
                </c:pt>
                <c:pt idx="147">
                  <c:v>4468.5097910536624</c:v>
                </c:pt>
                <c:pt idx="148">
                  <c:v>4361.1190699049157</c:v>
                </c:pt>
                <c:pt idx="149">
                  <c:v>4255.9643564357075</c:v>
                </c:pt>
                <c:pt idx="150">
                  <c:v>4153.017067290396</c:v>
                </c:pt>
                <c:pt idx="151" formatCode="#,##0">
                  <c:v>4052.2479502035376</c:v>
                </c:pt>
                <c:pt idx="152" formatCode="#,##0">
                  <c:v>3953.6271631495847</c:v>
                </c:pt>
                <c:pt idx="153" formatCode="#,##0">
                  <c:v>3857.1243488453674</c:v>
                </c:pt>
                <c:pt idx="154" formatCode="#,##0">
                  <c:v>3762.7087048593494</c:v>
                </c:pt>
                <c:pt idx="155" formatCode="#,##0">
                  <c:v>3670.3490495624683</c:v>
                </c:pt>
                <c:pt idx="156" formatCode="#,##0">
                  <c:v>3580.0138841385356</c:v>
                </c:pt>
                <c:pt idx="157" formatCode="#,##0">
                  <c:v>3491.6714508571886</c:v>
                </c:pt>
                <c:pt idx="158" formatCode="#,##0">
                  <c:v>3405.2897877991431</c:v>
                </c:pt>
                <c:pt idx="159" formatCode="#,##0">
                  <c:v>3320.8367802116381</c:v>
                </c:pt>
                <c:pt idx="160" formatCode="#,##0">
                  <c:v>3238.2802086613838</c:v>
                </c:pt>
                <c:pt idx="161" formatCode="#,##0">
                  <c:v>3157.5877941427698</c:v>
                </c:pt>
                <c:pt idx="162" formatCode="#,##0">
                  <c:v>3078.7272402904882</c:v>
                </c:pt>
                <c:pt idx="163" formatCode="#,##0">
                  <c:v>3001.6662728378628</c:v>
                </c:pt>
                <c:pt idx="164" formatCode="#,##0">
                  <c:v>2926.3726764550584</c:v>
                </c:pt>
                <c:pt idx="165" formatCode="#,##0">
                  <c:v>2852.8143290947587</c:v>
                </c:pt>
                <c:pt idx="166" formatCode="#,##0">
                  <c:v>2780.9592339668447</c:v>
                </c:pt>
                <c:pt idx="167" formatCode="#,##0">
                  <c:v>2710.7755492580272</c:v>
                </c:pt>
                <c:pt idx="168" formatCode="#,##0">
                  <c:v>2642.2316157071173</c:v>
                </c:pt>
                <c:pt idx="169" formatCode="#,##0">
                  <c:v>2575.2959821417821</c:v>
                </c:pt>
                <c:pt idx="170" formatCode="#,##0">
                  <c:v>2509.9374290780111</c:v>
                </c:pt>
                <c:pt idx="171" formatCode="#,##0">
                  <c:v>2446.1249904791971</c:v>
                </c:pt>
                <c:pt idx="172" formatCode="#,##0">
                  <c:v>2383.8279737676639</c:v>
                </c:pt>
                <c:pt idx="173" formatCode="#,##0">
                  <c:v>2323.0159781775351</c:v>
                </c:pt>
                <c:pt idx="174" formatCode="#,##0">
                  <c:v>2263.6589115341962</c:v>
                </c:pt>
                <c:pt idx="175" formatCode="#,##0">
                  <c:v>2205.7270055419972</c:v>
                </c:pt>
                <c:pt idx="176" formatCode="#,##0">
                  <c:v>2149.190829658527</c:v>
                </c:pt>
                <c:pt idx="177" formatCode="#,##0">
                  <c:v>2094.0213036304749</c:v>
                </c:pt>
                <c:pt idx="178" formatCode="#,##0">
                  <c:v>2040.1897087630277</c:v>
                </c:pt>
                <c:pt idx="179" formatCode="#,##0">
                  <c:v>1987.667697991727</c:v>
                </c:pt>
                <c:pt idx="180" formatCode="#,##0">
                  <c:v>1936.4273048228154</c:v>
                </c:pt>
                <c:pt idx="181" formatCode="#,##0">
                  <c:v>1886.44095120532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7D6-49D4-BBCA-40283A14DE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19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25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50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  <a:prstDash val="sysDash"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B$93:$B$274</c:f>
              <c:numCache>
                <c:formatCode>0</c:formatCode>
                <c:ptCount val="182"/>
                <c:pt idx="0">
                  <c:v>5180</c:v>
                </c:pt>
                <c:pt idx="1">
                  <c:v>4561</c:v>
                </c:pt>
                <c:pt idx="2">
                  <c:v>4624</c:v>
                </c:pt>
                <c:pt idx="3">
                  <c:v>4747</c:v>
                </c:pt>
                <c:pt idx="4">
                  <c:v>3312</c:v>
                </c:pt>
                <c:pt idx="5">
                  <c:v>1112</c:v>
                </c:pt>
                <c:pt idx="6">
                  <c:v>4251</c:v>
                </c:pt>
                <c:pt idx="7">
                  <c:v>5855</c:v>
                </c:pt>
                <c:pt idx="8">
                  <c:v>6414</c:v>
                </c:pt>
                <c:pt idx="9">
                  <c:v>5872</c:v>
                </c:pt>
                <c:pt idx="10">
                  <c:v>6209</c:v>
                </c:pt>
                <c:pt idx="11">
                  <c:v>3655</c:v>
                </c:pt>
                <c:pt idx="12">
                  <c:v>1998</c:v>
                </c:pt>
                <c:pt idx="13">
                  <c:v>5176</c:v>
                </c:pt>
                <c:pt idx="14">
                  <c:v>7908</c:v>
                </c:pt>
                <c:pt idx="15">
                  <c:v>8258</c:v>
                </c:pt>
                <c:pt idx="16">
                  <c:v>7614</c:v>
                </c:pt>
                <c:pt idx="17">
                  <c:v>8838</c:v>
                </c:pt>
                <c:pt idx="18">
                  <c:v>5326</c:v>
                </c:pt>
                <c:pt idx="19">
                  <c:v>3403</c:v>
                </c:pt>
                <c:pt idx="20">
                  <c:v>7950</c:v>
                </c:pt>
                <c:pt idx="21">
                  <c:v>10913</c:v>
                </c:pt>
                <c:pt idx="22">
                  <c:v>14139</c:v>
                </c:pt>
                <c:pt idx="23">
                  <c:v>4373</c:v>
                </c:pt>
                <c:pt idx="24">
                  <c:v>2671</c:v>
                </c:pt>
                <c:pt idx="25">
                  <c:v>3031</c:v>
                </c:pt>
                <c:pt idx="26">
                  <c:v>3782</c:v>
                </c:pt>
                <c:pt idx="27">
                  <c:v>10937</c:v>
                </c:pt>
                <c:pt idx="28">
                  <c:v>16475</c:v>
                </c:pt>
                <c:pt idx="29">
                  <c:v>17061</c:v>
                </c:pt>
                <c:pt idx="30">
                  <c:v>13307</c:v>
                </c:pt>
                <c:pt idx="31" formatCode="General">
                  <c:v>3446</c:v>
                </c:pt>
                <c:pt idx="32" formatCode="General">
                  <c:v>4985</c:v>
                </c:pt>
                <c:pt idx="33" formatCode="General">
                  <c:v>6268</c:v>
                </c:pt>
                <c:pt idx="34" formatCode="General">
                  <c:v>12956</c:v>
                </c:pt>
                <c:pt idx="35" formatCode="General">
                  <c:v>17401</c:v>
                </c:pt>
                <c:pt idx="36" formatCode="General">
                  <c:v>17771</c:v>
                </c:pt>
                <c:pt idx="37" formatCode="General">
                  <c:v>14882</c:v>
                </c:pt>
                <c:pt idx="38" formatCode="General">
                  <c:v>13099</c:v>
                </c:pt>
                <c:pt idx="39" formatCode="General">
                  <c:v>8437</c:v>
                </c:pt>
                <c:pt idx="40" formatCode="General">
                  <c:v>4313</c:v>
                </c:pt>
                <c:pt idx="41" formatCode="General">
                  <c:v>9386</c:v>
                </c:pt>
                <c:pt idx="42" formatCode="General">
                  <c:v>10811</c:v>
                </c:pt>
                <c:pt idx="43" formatCode="General">
                  <c:v>10920</c:v>
                </c:pt>
                <c:pt idx="44" formatCode="General">
                  <c:v>8087</c:v>
                </c:pt>
                <c:pt idx="45" formatCode="General">
                  <c:v>9301</c:v>
                </c:pt>
                <c:pt idx="46" formatCode="General">
                  <c:v>5241</c:v>
                </c:pt>
                <c:pt idx="47" formatCode="General">
                  <c:v>2641</c:v>
                </c:pt>
                <c:pt idx="48" formatCode="General">
                  <c:v>7668</c:v>
                </c:pt>
                <c:pt idx="49" formatCode="General">
                  <c:v>9610</c:v>
                </c:pt>
                <c:pt idx="50" formatCode="General">
                  <c:v>8215</c:v>
                </c:pt>
                <c:pt idx="51" formatCode="General">
                  <c:v>7532</c:v>
                </c:pt>
                <c:pt idx="52" formatCode="General">
                  <c:v>8468</c:v>
                </c:pt>
                <c:pt idx="53" formatCode="General">
                  <c:v>4239</c:v>
                </c:pt>
                <c:pt idx="54" formatCode="General">
                  <c:v>2394</c:v>
                </c:pt>
                <c:pt idx="55" formatCode="General">
                  <c:v>6974</c:v>
                </c:pt>
                <c:pt idx="56" formatCode="General">
                  <c:v>9195</c:v>
                </c:pt>
                <c:pt idx="57" formatCode="General">
                  <c:v>8504</c:v>
                </c:pt>
                <c:pt idx="58" formatCode="General">
                  <c:v>8010</c:v>
                </c:pt>
                <c:pt idx="59" formatCode="General">
                  <c:v>8053</c:v>
                </c:pt>
                <c:pt idx="60" formatCode="General">
                  <c:v>4055</c:v>
                </c:pt>
                <c:pt idx="61" formatCode="General">
                  <c:v>2573</c:v>
                </c:pt>
                <c:pt idx="62" formatCode="General">
                  <c:v>7217</c:v>
                </c:pt>
                <c:pt idx="63" formatCode="General">
                  <c:v>9148</c:v>
                </c:pt>
                <c:pt idx="64" formatCode="General">
                  <c:v>9667</c:v>
                </c:pt>
                <c:pt idx="65" formatCode="General">
                  <c:v>8107</c:v>
                </c:pt>
                <c:pt idx="66" formatCode="General">
                  <c:v>8622</c:v>
                </c:pt>
                <c:pt idx="67" formatCode="General">
                  <c:v>4820</c:v>
                </c:pt>
                <c:pt idx="68" formatCode="General">
                  <c:v>2451</c:v>
                </c:pt>
                <c:pt idx="69" formatCode="General">
                  <c:v>7777</c:v>
                </c:pt>
                <c:pt idx="70" formatCode="General">
                  <c:v>10283</c:v>
                </c:pt>
                <c:pt idx="71" formatCode="General">
                  <c:v>9538</c:v>
                </c:pt>
                <c:pt idx="72" formatCode="General">
                  <c:v>9018</c:v>
                </c:pt>
                <c:pt idx="73" formatCode="General">
                  <c:v>8830</c:v>
                </c:pt>
                <c:pt idx="74" formatCode="General">
                  <c:v>5141</c:v>
                </c:pt>
                <c:pt idx="75" formatCode="General">
                  <c:v>2880</c:v>
                </c:pt>
                <c:pt idx="76" formatCode="General">
                  <c:v>8905</c:v>
                </c:pt>
                <c:pt idx="77" formatCode="General">
                  <c:v>12608</c:v>
                </c:pt>
                <c:pt idx="78" formatCode="General">
                  <c:v>10939</c:v>
                </c:pt>
                <c:pt idx="79" formatCode="General">
                  <c:v>11703</c:v>
                </c:pt>
                <c:pt idx="80" formatCode="General">
                  <c:v>11288</c:v>
                </c:pt>
                <c:pt idx="81" formatCode="General">
                  <c:v>6775</c:v>
                </c:pt>
                <c:pt idx="82" formatCode="General">
                  <c:v>4068</c:v>
                </c:pt>
                <c:pt idx="83" formatCode="General">
                  <c:v>11408</c:v>
                </c:pt>
                <c:pt idx="84" formatCode="General">
                  <c:v>15840</c:v>
                </c:pt>
                <c:pt idx="85" formatCode="General">
                  <c:v>13796</c:v>
                </c:pt>
                <c:pt idx="86" formatCode="General">
                  <c:v>14588</c:v>
                </c:pt>
                <c:pt idx="87" formatCode="General">
                  <c:v>14776</c:v>
                </c:pt>
                <c:pt idx="88" formatCode="General">
                  <c:v>7824</c:v>
                </c:pt>
                <c:pt idx="89" formatCode="General">
                  <c:v>4587</c:v>
                </c:pt>
                <c:pt idx="90" formatCode="General">
                  <c:v>12325</c:v>
                </c:pt>
                <c:pt idx="91" formatCode="General">
                  <c:v>16777</c:v>
                </c:pt>
                <c:pt idx="92" formatCode="General">
                  <c:v>15237</c:v>
                </c:pt>
                <c:pt idx="93" formatCode="General">
                  <c:v>14649</c:v>
                </c:pt>
                <c:pt idx="94" formatCode="General">
                  <c:v>13169</c:v>
                </c:pt>
                <c:pt idx="95" formatCode="General">
                  <c:v>9130</c:v>
                </c:pt>
                <c:pt idx="96" formatCode="General">
                  <c:v>3982</c:v>
                </c:pt>
                <c:pt idx="97" formatCode="General">
                  <c:v>10653</c:v>
                </c:pt>
                <c:pt idx="98" formatCode="General">
                  <c:v>15358</c:v>
                </c:pt>
                <c:pt idx="99" formatCode="General">
                  <c:v>14535</c:v>
                </c:pt>
                <c:pt idx="100" formatCode="General">
                  <c:v>11244</c:v>
                </c:pt>
                <c:pt idx="101" formatCode="General">
                  <c:v>14958</c:v>
                </c:pt>
                <c:pt idx="102" formatCode="General">
                  <c:v>6956</c:v>
                </c:pt>
                <c:pt idx="103" formatCode="General">
                  <c:v>3332</c:v>
                </c:pt>
                <c:pt idx="104" formatCode="General">
                  <c:v>10628</c:v>
                </c:pt>
                <c:pt idx="105" formatCode="General">
                  <c:v>14028</c:v>
                </c:pt>
                <c:pt idx="106" formatCode="General">
                  <c:v>12027</c:v>
                </c:pt>
                <c:pt idx="107" formatCode="General">
                  <c:v>10660</c:v>
                </c:pt>
                <c:pt idx="108" formatCode="General">
                  <c:v>9711</c:v>
                </c:pt>
                <c:pt idx="109" formatCode="General">
                  <c:v>5466</c:v>
                </c:pt>
                <c:pt idx="110" formatCode="General">
                  <c:v>2389</c:v>
                </c:pt>
                <c:pt idx="111" formatCode="General">
                  <c:v>8240</c:v>
                </c:pt>
                <c:pt idx="112" formatCode="General">
                  <c:v>10968</c:v>
                </c:pt>
                <c:pt idx="113" formatCode="General">
                  <c:v>8847</c:v>
                </c:pt>
                <c:pt idx="114" formatCode="General">
                  <c:v>7925</c:v>
                </c:pt>
                <c:pt idx="115" formatCode="General">
                  <c:v>7710</c:v>
                </c:pt>
                <c:pt idx="116" formatCode="General">
                  <c:v>3969</c:v>
                </c:pt>
                <c:pt idx="117" formatCode="General">
                  <c:v>1743</c:v>
                </c:pt>
                <c:pt idx="118" formatCode="General">
                  <c:v>6934</c:v>
                </c:pt>
                <c:pt idx="119" formatCode="General">
                  <c:v>8629</c:v>
                </c:pt>
                <c:pt idx="120" formatCode="General">
                  <c:v>7262</c:v>
                </c:pt>
                <c:pt idx="121" formatCode="General">
                  <c:v>6244</c:v>
                </c:pt>
                <c:pt idx="122" formatCode="General">
                  <c:v>3837</c:v>
                </c:pt>
                <c:pt idx="123" formatCode="General">
                  <c:v>2160</c:v>
                </c:pt>
                <c:pt idx="124" formatCode="General">
                  <c:v>1925</c:v>
                </c:pt>
                <c:pt idx="125" formatCode="General">
                  <c:v>1419</c:v>
                </c:pt>
                <c:pt idx="126" formatCode="General">
                  <c:v>5580</c:v>
                </c:pt>
                <c:pt idx="127" formatCode="General">
                  <c:v>7051</c:v>
                </c:pt>
                <c:pt idx="128" formatCode="General">
                  <c:v>5282</c:v>
                </c:pt>
                <c:pt idx="129" formatCode="General">
                  <c:v>4820</c:v>
                </c:pt>
                <c:pt idx="130" formatCode="General">
                  <c:v>2204</c:v>
                </c:pt>
                <c:pt idx="131" formatCode="General">
                  <c:v>985</c:v>
                </c:pt>
                <c:pt idx="132" formatCode="General">
                  <c:v>3868</c:v>
                </c:pt>
                <c:pt idx="133" formatCode="General">
                  <c:v>5056</c:v>
                </c:pt>
                <c:pt idx="134" formatCode="General">
                  <c:v>3714</c:v>
                </c:pt>
                <c:pt idx="135" formatCode="General">
                  <c:v>3264</c:v>
                </c:pt>
                <c:pt idx="136" formatCode="General">
                  <c:v>3215</c:v>
                </c:pt>
                <c:pt idx="137" formatCode="General">
                  <c:v>1541</c:v>
                </c:pt>
                <c:pt idx="138" formatCode="General">
                  <c:v>833</c:v>
                </c:pt>
                <c:pt idx="139" formatCode="General">
                  <c:v>3335</c:v>
                </c:pt>
                <c:pt idx="140" formatCode="General">
                  <c:v>3815</c:v>
                </c:pt>
                <c:pt idx="141" formatCode="General">
                  <c:v>2950</c:v>
                </c:pt>
                <c:pt idx="142" formatCode="General">
                  <c:v>2629</c:v>
                </c:pt>
                <c:pt idx="143" formatCode="General">
                  <c:v>2595</c:v>
                </c:pt>
                <c:pt idx="144" formatCode="General">
                  <c:v>13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7D6-49D4-BBCA-40283A14DE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C$93:$C$274</c:f>
              <c:numCache>
                <c:formatCode>General</c:formatCode>
                <c:ptCount val="182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7D6-49D4-BBCA-40283A14DEDD}"/>
            </c:ext>
          </c:extLst>
        </c:ser>
        <c:ser>
          <c:idx val="4"/>
          <c:order val="2"/>
          <c:tx>
            <c:strRef>
              <c:f>Sheet1!$F$1</c:f>
              <c:strCache>
                <c:ptCount val="1"/>
                <c:pt idx="0">
                  <c:v>1.10</c:v>
                </c:pt>
              </c:strCache>
            </c:strRef>
          </c:tx>
          <c:spPr>
            <a:ln w="28575" cap="rnd">
              <a:solidFill>
                <a:srgbClr val="00CD61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F$93:$F$274</c:f>
              <c:numCache>
                <c:formatCode>General</c:formatCode>
                <c:ptCount val="182"/>
                <c:pt idx="88">
                  <c:v>13565.398587364976</c:v>
                </c:pt>
                <c:pt idx="89">
                  <c:v>13597.620772138698</c:v>
                </c:pt>
                <c:pt idx="90">
                  <c:v>13548.918318527833</c:v>
                </c:pt>
                <c:pt idx="91">
                  <c:v>13455.939457546039</c:v>
                </c:pt>
                <c:pt idx="92">
                  <c:v>13336.901120744071</c:v>
                </c:pt>
                <c:pt idx="93">
                  <c:v>13201.041345989797</c:v>
                </c:pt>
                <c:pt idx="94">
                  <c:v>13053.250245753177</c:v>
                </c:pt>
                <c:pt idx="95">
                  <c:v>12896.318961767711</c:v>
                </c:pt>
                <c:pt idx="96">
                  <c:v>12732.020108445684</c:v>
                </c:pt>
                <c:pt idx="97">
                  <c:v>12561.620250351514</c:v>
                </c:pt>
                <c:pt idx="98">
                  <c:v>12386.119621972726</c:v>
                </c:pt>
                <c:pt idx="99">
                  <c:v>12206.362920696471</c:v>
                </c:pt>
                <c:pt idx="100">
                  <c:v>12023.090421835983</c:v>
                </c:pt>
                <c:pt idx="101">
                  <c:v>11836.962221911288</c:v>
                </c:pt>
                <c:pt idx="102">
                  <c:v>11648.570807348526</c:v>
                </c:pt>
                <c:pt idx="103">
                  <c:v>11458.448766482525</c:v>
                </c:pt>
                <c:pt idx="104">
                  <c:v>11267.074560520114</c:v>
                </c:pt>
                <c:pt idx="105">
                  <c:v>11074.877508179043</c:v>
                </c:pt>
                <c:pt idx="106">
                  <c:v>10882.242381785769</c:v>
                </c:pt>
                <c:pt idx="107">
                  <c:v>10689.513712989812</c:v>
                </c:pt>
                <c:pt idx="108">
                  <c:v>10496.999805791134</c:v>
                </c:pt>
                <c:pt idx="109">
                  <c:v>10304.976434519584</c:v>
                </c:pt>
                <c:pt idx="110">
                  <c:v>10113.69021224228</c:v>
                </c:pt>
                <c:pt idx="111">
                  <c:v>9923.361629071529</c:v>
                </c:pt>
                <c:pt idx="112">
                  <c:v>9734.1877720736393</c:v>
                </c:pt>
                <c:pt idx="113">
                  <c:v>9546.3447468654849</c:v>
                </c:pt>
                <c:pt idx="114">
                  <c:v>9359.989825699653</c:v>
                </c:pt>
                <c:pt idx="115">
                  <c:v>9175.2633487234507</c:v>
                </c:pt>
                <c:pt idx="116">
                  <c:v>8992.2904050442994</c:v>
                </c:pt>
                <c:pt idx="117">
                  <c:v>8811.1823189776806</c:v>
                </c:pt>
                <c:pt idx="118">
                  <c:v>8632.0379649301503</c:v>
                </c:pt>
                <c:pt idx="119">
                  <c:v>8454.9449321447137</c:v>
                </c:pt>
                <c:pt idx="120">
                  <c:v>8279.9805582433582</c:v>
                </c:pt>
                <c:pt idx="121">
                  <c:v>8107.2128482826047</c:v>
                </c:pt>
                <c:pt idx="122">
                  <c:v>7936.701293970641</c:v>
                </c:pt>
                <c:pt idx="123">
                  <c:v>7768.4976058159664</c:v>
                </c:pt>
                <c:pt idx="124">
                  <c:v>7602.6463692990101</c:v>
                </c:pt>
                <c:pt idx="125">
                  <c:v>7439.1856346759896</c:v>
                </c:pt>
                <c:pt idx="126">
                  <c:v>7278.1474487267014</c:v>
                </c:pt>
                <c:pt idx="127">
                  <c:v>7119.5583356283587</c:v>
                </c:pt>
                <c:pt idx="128">
                  <c:v>6963.4397331588161</c:v>
                </c:pt>
                <c:pt idx="129">
                  <c:v>6809.8083895867212</c:v>
                </c:pt>
                <c:pt idx="130">
                  <c:v>6658.6767258768996</c:v>
                </c:pt>
                <c:pt idx="131">
                  <c:v>6510.0531672116349</c:v>
                </c:pt>
                <c:pt idx="132">
                  <c:v>6363.942447288402</c:v>
                </c:pt>
                <c:pt idx="133">
                  <c:v>6220.3458883906142</c:v>
                </c:pt>
                <c:pt idx="134">
                  <c:v>6079.2616598290442</c:v>
                </c:pt>
                <c:pt idx="135">
                  <c:v>5940.6850170089601</c:v>
                </c:pt>
                <c:pt idx="136">
                  <c:v>5804.6085230835033</c:v>
                </c:pt>
                <c:pt idx="137">
                  <c:v>5671.0222549007694</c:v>
                </c:pt>
                <c:pt idx="138">
                  <c:v>5539.9139947345457</c:v>
                </c:pt>
                <c:pt idx="139">
                  <c:v>5411.2694091014473</c:v>
                </c:pt>
                <c:pt idx="140">
                  <c:v>5285.072215806259</c:v>
                </c:pt>
                <c:pt idx="141">
                  <c:v>5161.3043402186613</c:v>
                </c:pt>
                <c:pt idx="142">
                  <c:v>5039.9460616651231</c:v>
                </c:pt>
                <c:pt idx="143">
                  <c:v>4920.9761507168096</c:v>
                </c:pt>
                <c:pt idx="144">
                  <c:v>4804.3719980655906</c:v>
                </c:pt>
                <c:pt idx="145">
                  <c:v>4690.1097356035389</c:v>
                </c:pt>
                <c:pt idx="146">
                  <c:v>4578.1643502550887</c:v>
                </c:pt>
                <c:pt idx="147">
                  <c:v>4468.5097910536624</c:v>
                </c:pt>
                <c:pt idx="148">
                  <c:v>4361.1190699049157</c:v>
                </c:pt>
                <c:pt idx="149">
                  <c:v>4255.9643564357075</c:v>
                </c:pt>
                <c:pt idx="150">
                  <c:v>4153.017067290396</c:v>
                </c:pt>
                <c:pt idx="151" formatCode="#,##0">
                  <c:v>4052.2479502035376</c:v>
                </c:pt>
                <c:pt idx="152" formatCode="#,##0">
                  <c:v>3953.6271631495847</c:v>
                </c:pt>
                <c:pt idx="153" formatCode="#,##0">
                  <c:v>3857.1243488453674</c:v>
                </c:pt>
                <c:pt idx="154" formatCode="#,##0">
                  <c:v>3762.7087048593494</c:v>
                </c:pt>
                <c:pt idx="155" formatCode="#,##0">
                  <c:v>3670.3490495624683</c:v>
                </c:pt>
                <c:pt idx="156" formatCode="#,##0">
                  <c:v>3580.0138841385356</c:v>
                </c:pt>
                <c:pt idx="157" formatCode="#,##0">
                  <c:v>3491.6714508571886</c:v>
                </c:pt>
                <c:pt idx="158" formatCode="#,##0">
                  <c:v>3405.2897877991431</c:v>
                </c:pt>
                <c:pt idx="159" formatCode="#,##0">
                  <c:v>3320.8367802116381</c:v>
                </c:pt>
                <c:pt idx="160" formatCode="#,##0">
                  <c:v>3238.2802086613838</c:v>
                </c:pt>
                <c:pt idx="161" formatCode="#,##0">
                  <c:v>3157.5877941427698</c:v>
                </c:pt>
                <c:pt idx="162" formatCode="#,##0">
                  <c:v>3078.7272402904882</c:v>
                </c:pt>
                <c:pt idx="163" formatCode="#,##0">
                  <c:v>3001.6662728378628</c:v>
                </c:pt>
                <c:pt idx="164" formatCode="#,##0">
                  <c:v>2926.3726764550584</c:v>
                </c:pt>
                <c:pt idx="165" formatCode="#,##0">
                  <c:v>2852.8143290947587</c:v>
                </c:pt>
                <c:pt idx="166" formatCode="#,##0">
                  <c:v>2780.9592339668447</c:v>
                </c:pt>
                <c:pt idx="167" formatCode="#,##0">
                  <c:v>2710.7755492580272</c:v>
                </c:pt>
                <c:pt idx="168" formatCode="#,##0">
                  <c:v>2642.2316157071173</c:v>
                </c:pt>
                <c:pt idx="169" formatCode="#,##0">
                  <c:v>2575.2959821417821</c:v>
                </c:pt>
                <c:pt idx="170" formatCode="#,##0">
                  <c:v>2509.9374290780111</c:v>
                </c:pt>
                <c:pt idx="171" formatCode="#,##0">
                  <c:v>2446.1249904791971</c:v>
                </c:pt>
                <c:pt idx="172" formatCode="#,##0">
                  <c:v>2383.8279737676639</c:v>
                </c:pt>
                <c:pt idx="173" formatCode="#,##0">
                  <c:v>2323.0159781775351</c:v>
                </c:pt>
                <c:pt idx="174" formatCode="#,##0">
                  <c:v>2263.6589115341962</c:v>
                </c:pt>
                <c:pt idx="175" formatCode="#,##0">
                  <c:v>2205.7270055419972</c:v>
                </c:pt>
                <c:pt idx="176" formatCode="#,##0">
                  <c:v>2149.190829658527</c:v>
                </c:pt>
                <c:pt idx="177" formatCode="#,##0">
                  <c:v>2094.0213036304749</c:v>
                </c:pt>
                <c:pt idx="178" formatCode="#,##0">
                  <c:v>2040.1897087630277</c:v>
                </c:pt>
                <c:pt idx="179" formatCode="#,##0">
                  <c:v>1987.667697991727</c:v>
                </c:pt>
                <c:pt idx="180" formatCode="#,##0">
                  <c:v>1936.4273048228154</c:v>
                </c:pt>
                <c:pt idx="181" formatCode="#,##0">
                  <c:v>1886.44095120532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7D6-49D4-BBCA-40283A14DEDD}"/>
            </c:ext>
          </c:extLst>
        </c:ser>
        <c:ser>
          <c:idx val="2"/>
          <c:order val="3"/>
          <c:tx>
            <c:v>V3</c:v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val>
            <c:numRef>
              <c:f>Sheet1!$G$93:$G$274</c:f>
              <c:numCache>
                <c:formatCode>General</c:formatCode>
                <c:ptCount val="182"/>
                <c:pt idx="88" formatCode="#,##0">
                  <c:v>12384.255429978144</c:v>
                </c:pt>
                <c:pt idx="89" formatCode="#,##0">
                  <c:v>12381.738495540094</c:v>
                </c:pt>
                <c:pt idx="90" formatCode="#,##0">
                  <c:v>12305.469843726962</c:v>
                </c:pt>
                <c:pt idx="91" formatCode="#,##0">
                  <c:v>12188.82353865699</c:v>
                </c:pt>
                <c:pt idx="92" formatCode="#,##0">
                  <c:v>12048.336460701657</c:v>
                </c:pt>
                <c:pt idx="93" formatCode="#,##0">
                  <c:v>11892.419536044787</c:v>
                </c:pt>
                <c:pt idx="94" formatCode="#,##0">
                  <c:v>11725.337532383628</c:v>
                </c:pt>
                <c:pt idx="95" formatCode="#,##0">
                  <c:v>11549.732364132808</c:v>
                </c:pt>
                <c:pt idx="96" formatCode="#,##0">
                  <c:v>11368.184119566578</c:v>
                </c:pt>
                <c:pt idx="97" formatCode="#,##0">
                  <c:v>11182.388903323426</c:v>
                </c:pt>
                <c:pt idx="98" formatCode="#,##0">
                  <c:v>10992.446750536743</c:v>
                </c:pt>
                <c:pt idx="99" formatCode="#,##0">
                  <c:v>10798.254563455468</c:v>
                </c:pt>
                <c:pt idx="100" formatCode="#,##0">
                  <c:v>10599.929503923397</c:v>
                </c:pt>
                <c:pt idx="101" formatCode="#,##0">
                  <c:v>10397.78209807549</c:v>
                </c:pt>
                <c:pt idx="102" formatCode="#,##0">
                  <c:v>10192.570969851162</c:v>
                </c:pt>
                <c:pt idx="103" formatCode="#,##0">
                  <c:v>9985.9146241609851</c:v>
                </c:pt>
                <c:pt idx="104" formatCode="#,##0">
                  <c:v>9778.9121406780287</c:v>
                </c:pt>
                <c:pt idx="105" formatCode="#,##0">
                  <c:v>9571.3725769656448</c:v>
                </c:pt>
                <c:pt idx="106" formatCode="#,##0">
                  <c:v>9363.0780046187883</c:v>
                </c:pt>
                <c:pt idx="107" formatCode="#,##0">
                  <c:v>9153.9058971181184</c:v>
                </c:pt>
                <c:pt idx="108" formatCode="#,##0">
                  <c:v>8943.8612066982005</c:v>
                </c:pt>
                <c:pt idx="109" formatCode="#,##0">
                  <c:v>8733.4826071830303</c:v>
                </c:pt>
                <c:pt idx="110" formatCode="#,##0">
                  <c:v>8524.2805747821403</c:v>
                </c:pt>
                <c:pt idx="111" formatCode="#,##0">
                  <c:v>8317.3851737700406</c:v>
                </c:pt>
                <c:pt idx="112" formatCode="#,##0">
                  <c:v>8112.739096901033</c:v>
                </c:pt>
                <c:pt idx="113" formatCode="#,##0">
                  <c:v>7909.927352430961</c:v>
                </c:pt>
                <c:pt idx="114" formatCode="#,##0">
                  <c:v>7708.9144896136586</c:v>
                </c:pt>
                <c:pt idx="115" formatCode="#,##0">
                  <c:v>7509.7857886288766</c:v>
                </c:pt>
                <c:pt idx="116" formatCode="#,##0">
                  <c:v>7312.8031151383575</c:v>
                </c:pt>
                <c:pt idx="117" formatCode="#,##0">
                  <c:v>7118.9528990941071</c:v>
                </c:pt>
                <c:pt idx="118" formatCode="#,##0">
                  <c:v>6929.0458682360886</c:v>
                </c:pt>
                <c:pt idx="119" formatCode="#,##0">
                  <c:v>6742.8497714274572</c:v>
                </c:pt>
                <c:pt idx="120" formatCode="#,##0">
                  <c:v>6560.1632156124761</c:v>
                </c:pt>
                <c:pt idx="121" formatCode="#,##0">
                  <c:v>6380.8665114722608</c:v>
                </c:pt>
                <c:pt idx="122" formatCode="#,##0">
                  <c:v>6204.9209476599099</c:v>
                </c:pt>
                <c:pt idx="123" formatCode="#,##0">
                  <c:v>6032.350733621276</c:v>
                </c:pt>
                <c:pt idx="124" formatCode="#,##0">
                  <c:v>5863.7071431953927</c:v>
                </c:pt>
                <c:pt idx="125" formatCode="#,##0">
                  <c:v>5699.3104253141364</c:v>
                </c:pt>
                <c:pt idx="126" formatCode="#,##0">
                  <c:v>5538.8605473874723</c:v>
                </c:pt>
                <c:pt idx="127" formatCode="#,##0">
                  <c:v>5382.0056795178034</c:v>
                </c:pt>
                <c:pt idx="128" formatCode="#,##0">
                  <c:v>5228.5828147970387</c:v>
                </c:pt>
                <c:pt idx="129" formatCode="#,##0">
                  <c:v>5078.472171521812</c:v>
                </c:pt>
                <c:pt idx="130" formatCode="#,##0">
                  <c:v>4931.2859269107666</c:v>
                </c:pt>
                <c:pt idx="131" formatCode="#,##0">
                  <c:v>4786.8400647836488</c:v>
                </c:pt>
                <c:pt idx="132" formatCode="#,##0">
                  <c:v>4645.0658134591567</c:v>
                </c:pt>
                <c:pt idx="133" formatCode="#,##0">
                  <c:v>4505.9570592995324</c:v>
                </c:pt>
                <c:pt idx="134" formatCode="#,##0">
                  <c:v>4369.5391905155029</c:v>
                </c:pt>
                <c:pt idx="135" formatCode="#,##0">
                  <c:v>4235.850782959873</c:v>
                </c:pt>
                <c:pt idx="136" formatCode="#,##0">
                  <c:v>4104.9330139377107</c:v>
                </c:pt>
                <c:pt idx="137" formatCode="#,##0">
                  <c:v>3976.8237353467121</c:v>
                </c:pt>
                <c:pt idx="138" formatCode="#,##0">
                  <c:v>3851.5543523439878</c:v>
                </c:pt>
                <c:pt idx="139" formatCode="#,##0">
                  <c:v>3729.1873464644714</c:v>
                </c:pt>
                <c:pt idx="140" formatCode="#,##0">
                  <c:v>3621.1286679439618</c:v>
                </c:pt>
                <c:pt idx="141" formatCode="#,##0">
                  <c:v>3521.3010444671736</c:v>
                </c:pt>
                <c:pt idx="142" formatCode="#,##0">
                  <c:v>3426.8435798013643</c:v>
                </c:pt>
                <c:pt idx="143" formatCode="#,##0">
                  <c:v>3336.3967666157287</c:v>
                </c:pt>
                <c:pt idx="144" formatCode="#,##0">
                  <c:v>3249.3905012097939</c:v>
                </c:pt>
                <c:pt idx="145" formatCode="#,##0">
                  <c:v>3165.5031479715835</c:v>
                </c:pt>
                <c:pt idx="146" formatCode="#,##0">
                  <c:v>3084.5117425724848</c:v>
                </c:pt>
                <c:pt idx="147" formatCode="#,##0">
                  <c:v>3034.3903141974233</c:v>
                </c:pt>
                <c:pt idx="148" formatCode="#,##0">
                  <c:v>2999.9840051595738</c:v>
                </c:pt>
                <c:pt idx="149" formatCode="#,##0">
                  <c:v>2973.7251108150012</c:v>
                </c:pt>
                <c:pt idx="150" formatCode="#,##0">
                  <c:v>2951.8008977617897</c:v>
                </c:pt>
                <c:pt idx="151" formatCode="#,##0">
                  <c:v>2932.2610822110641</c:v>
                </c:pt>
                <c:pt idx="152" formatCode="#,##0">
                  <c:v>2914.0828012995771</c:v>
                </c:pt>
                <c:pt idx="153" formatCode="#,##0">
                  <c:v>2896.7083240242364</c:v>
                </c:pt>
                <c:pt idx="154" formatCode="#,##0">
                  <c:v>2879.8161884931792</c:v>
                </c:pt>
                <c:pt idx="155" formatCode="#,##0">
                  <c:v>2863.2076072918294</c:v>
                </c:pt>
                <c:pt idx="156" formatCode="#,##0">
                  <c:v>2846.7498030004608</c:v>
                </c:pt>
                <c:pt idx="157" formatCode="#,##0">
                  <c:v>2830.347475571768</c:v>
                </c:pt>
                <c:pt idx="158" formatCode="#,##0">
                  <c:v>2813.9281896297962</c:v>
                </c:pt>
                <c:pt idx="159" formatCode="#,##0">
                  <c:v>2795.0089692778474</c:v>
                </c:pt>
                <c:pt idx="160" formatCode="#,##0">
                  <c:v>2772.3676074935624</c:v>
                </c:pt>
                <c:pt idx="161" formatCode="#,##0">
                  <c:v>2745.5350893880172</c:v>
                </c:pt>
                <c:pt idx="162" formatCode="#,##0">
                  <c:v>2714.4142174911535</c:v>
                </c:pt>
                <c:pt idx="163" formatCode="#,##0">
                  <c:v>2679.3859011036961</c:v>
                </c:pt>
                <c:pt idx="164" formatCode="#,##0">
                  <c:v>2640.805378178984</c:v>
                </c:pt>
                <c:pt idx="165" formatCode="#,##0">
                  <c:v>2599.0046818636824</c:v>
                </c:pt>
                <c:pt idx="166" formatCode="#,##0">
                  <c:v>2554.2967457757195</c:v>
                </c:pt>
                <c:pt idx="167" formatCode="#,##0">
                  <c:v>2506.9791092436276</c:v>
                </c:pt>
                <c:pt idx="168" formatCode="#,##0">
                  <c:v>2457.8013729931627</c:v>
                </c:pt>
                <c:pt idx="169" formatCode="#,##0">
                  <c:v>2407.247477459086</c:v>
                </c:pt>
                <c:pt idx="170" formatCode="#,##0">
                  <c:v>2355.639390652369</c:v>
                </c:pt>
                <c:pt idx="171" formatCode="#,##0">
                  <c:v>2303.2015804670459</c:v>
                </c:pt>
                <c:pt idx="172" formatCode="#,##0">
                  <c:v>2250.1009262363191</c:v>
                </c:pt>
                <c:pt idx="173" formatCode="#,##0">
                  <c:v>2196.4711740792859</c:v>
                </c:pt>
                <c:pt idx="174" formatCode="#,##0">
                  <c:v>2142.4276570152724</c:v>
                </c:pt>
                <c:pt idx="175" formatCode="#,##0">
                  <c:v>2088.5133585848125</c:v>
                </c:pt>
                <c:pt idx="176" formatCode="#,##0">
                  <c:v>2035.9121336307667</c:v>
                </c:pt>
                <c:pt idx="177" formatCode="#,##0">
                  <c:v>1985.1675093037109</c:v>
                </c:pt>
                <c:pt idx="178" formatCode="#,##0">
                  <c:v>1936.4615107867025</c:v>
                </c:pt>
                <c:pt idx="179" formatCode="#,##0">
                  <c:v>1889.7784477538016</c:v>
                </c:pt>
                <c:pt idx="180" formatCode="#,##0">
                  <c:v>1845.0010964936021</c:v>
                </c:pt>
                <c:pt idx="181" formatCode="#,##0">
                  <c:v>1801.966749804428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B8C-45EE-A9B5-86164ED9BF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19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25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50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  <a:prstDash val="sysDash"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B$93:$B$274</c:f>
              <c:numCache>
                <c:formatCode>0</c:formatCode>
                <c:ptCount val="182"/>
                <c:pt idx="0">
                  <c:v>5180</c:v>
                </c:pt>
                <c:pt idx="1">
                  <c:v>4561</c:v>
                </c:pt>
                <c:pt idx="2">
                  <c:v>4624</c:v>
                </c:pt>
                <c:pt idx="3">
                  <c:v>4747</c:v>
                </c:pt>
                <c:pt idx="4">
                  <c:v>3312</c:v>
                </c:pt>
                <c:pt idx="5">
                  <c:v>1112</c:v>
                </c:pt>
                <c:pt idx="6">
                  <c:v>4251</c:v>
                </c:pt>
                <c:pt idx="7">
                  <c:v>5855</c:v>
                </c:pt>
                <c:pt idx="8">
                  <c:v>6414</c:v>
                </c:pt>
                <c:pt idx="9">
                  <c:v>5872</c:v>
                </c:pt>
                <c:pt idx="10">
                  <c:v>6209</c:v>
                </c:pt>
                <c:pt idx="11">
                  <c:v>3655</c:v>
                </c:pt>
                <c:pt idx="12">
                  <c:v>1998</c:v>
                </c:pt>
                <c:pt idx="13">
                  <c:v>5176</c:v>
                </c:pt>
                <c:pt idx="14">
                  <c:v>7908</c:v>
                </c:pt>
                <c:pt idx="15">
                  <c:v>8258</c:v>
                </c:pt>
                <c:pt idx="16">
                  <c:v>7614</c:v>
                </c:pt>
                <c:pt idx="17">
                  <c:v>8838</c:v>
                </c:pt>
                <c:pt idx="18">
                  <c:v>5326</c:v>
                </c:pt>
                <c:pt idx="19">
                  <c:v>3403</c:v>
                </c:pt>
                <c:pt idx="20">
                  <c:v>7950</c:v>
                </c:pt>
                <c:pt idx="21">
                  <c:v>10913</c:v>
                </c:pt>
                <c:pt idx="22">
                  <c:v>14139</c:v>
                </c:pt>
                <c:pt idx="23">
                  <c:v>4373</c:v>
                </c:pt>
                <c:pt idx="24">
                  <c:v>2671</c:v>
                </c:pt>
                <c:pt idx="25">
                  <c:v>3031</c:v>
                </c:pt>
                <c:pt idx="26">
                  <c:v>3782</c:v>
                </c:pt>
                <c:pt idx="27">
                  <c:v>10937</c:v>
                </c:pt>
                <c:pt idx="28">
                  <c:v>16475</c:v>
                </c:pt>
                <c:pt idx="29">
                  <c:v>17061</c:v>
                </c:pt>
                <c:pt idx="30">
                  <c:v>13307</c:v>
                </c:pt>
                <c:pt idx="31" formatCode="General">
                  <c:v>3446</c:v>
                </c:pt>
                <c:pt idx="32" formatCode="General">
                  <c:v>4985</c:v>
                </c:pt>
                <c:pt idx="33" formatCode="General">
                  <c:v>6268</c:v>
                </c:pt>
                <c:pt idx="34" formatCode="General">
                  <c:v>12956</c:v>
                </c:pt>
                <c:pt idx="35" formatCode="General">
                  <c:v>17401</c:v>
                </c:pt>
                <c:pt idx="36" formatCode="General">
                  <c:v>17771</c:v>
                </c:pt>
                <c:pt idx="37" formatCode="General">
                  <c:v>14882</c:v>
                </c:pt>
                <c:pt idx="38" formatCode="General">
                  <c:v>13099</c:v>
                </c:pt>
                <c:pt idx="39" formatCode="General">
                  <c:v>8437</c:v>
                </c:pt>
                <c:pt idx="40" formatCode="General">
                  <c:v>4313</c:v>
                </c:pt>
                <c:pt idx="41" formatCode="General">
                  <c:v>9386</c:v>
                </c:pt>
                <c:pt idx="42" formatCode="General">
                  <c:v>10811</c:v>
                </c:pt>
                <c:pt idx="43" formatCode="General">
                  <c:v>10920</c:v>
                </c:pt>
                <c:pt idx="44" formatCode="General">
                  <c:v>8087</c:v>
                </c:pt>
                <c:pt idx="45" formatCode="General">
                  <c:v>9301</c:v>
                </c:pt>
                <c:pt idx="46" formatCode="General">
                  <c:v>5241</c:v>
                </c:pt>
                <c:pt idx="47" formatCode="General">
                  <c:v>2641</c:v>
                </c:pt>
                <c:pt idx="48" formatCode="General">
                  <c:v>7668</c:v>
                </c:pt>
                <c:pt idx="49" formatCode="General">
                  <c:v>9610</c:v>
                </c:pt>
                <c:pt idx="50" formatCode="General">
                  <c:v>8215</c:v>
                </c:pt>
                <c:pt idx="51" formatCode="General">
                  <c:v>7532</c:v>
                </c:pt>
                <c:pt idx="52" formatCode="General">
                  <c:v>8468</c:v>
                </c:pt>
                <c:pt idx="53" formatCode="General">
                  <c:v>4239</c:v>
                </c:pt>
                <c:pt idx="54" formatCode="General">
                  <c:v>2394</c:v>
                </c:pt>
                <c:pt idx="55" formatCode="General">
                  <c:v>6974</c:v>
                </c:pt>
                <c:pt idx="56" formatCode="General">
                  <c:v>9195</c:v>
                </c:pt>
                <c:pt idx="57" formatCode="General">
                  <c:v>8504</c:v>
                </c:pt>
                <c:pt idx="58" formatCode="General">
                  <c:v>8010</c:v>
                </c:pt>
                <c:pt idx="59" formatCode="General">
                  <c:v>8053</c:v>
                </c:pt>
                <c:pt idx="60" formatCode="General">
                  <c:v>4055</c:v>
                </c:pt>
                <c:pt idx="61" formatCode="General">
                  <c:v>2573</c:v>
                </c:pt>
                <c:pt idx="62" formatCode="General">
                  <c:v>7217</c:v>
                </c:pt>
                <c:pt idx="63" formatCode="General">
                  <c:v>9148</c:v>
                </c:pt>
                <c:pt idx="64" formatCode="General">
                  <c:v>9667</c:v>
                </c:pt>
                <c:pt idx="65" formatCode="General">
                  <c:v>8107</c:v>
                </c:pt>
                <c:pt idx="66" formatCode="General">
                  <c:v>8622</c:v>
                </c:pt>
                <c:pt idx="67" formatCode="General">
                  <c:v>4820</c:v>
                </c:pt>
                <c:pt idx="68" formatCode="General">
                  <c:v>2451</c:v>
                </c:pt>
                <c:pt idx="69" formatCode="General">
                  <c:v>7777</c:v>
                </c:pt>
                <c:pt idx="70" formatCode="General">
                  <c:v>10283</c:v>
                </c:pt>
                <c:pt idx="71" formatCode="General">
                  <c:v>9538</c:v>
                </c:pt>
                <c:pt idx="72" formatCode="General">
                  <c:v>9018</c:v>
                </c:pt>
                <c:pt idx="73" formatCode="General">
                  <c:v>8830</c:v>
                </c:pt>
                <c:pt idx="74" formatCode="General">
                  <c:v>5141</c:v>
                </c:pt>
                <c:pt idx="75" formatCode="General">
                  <c:v>2880</c:v>
                </c:pt>
                <c:pt idx="76" formatCode="General">
                  <c:v>8905</c:v>
                </c:pt>
                <c:pt idx="77" formatCode="General">
                  <c:v>12608</c:v>
                </c:pt>
                <c:pt idx="78" formatCode="General">
                  <c:v>10939</c:v>
                </c:pt>
                <c:pt idx="79" formatCode="General">
                  <c:v>11703</c:v>
                </c:pt>
                <c:pt idx="80" formatCode="General">
                  <c:v>11288</c:v>
                </c:pt>
                <c:pt idx="81" formatCode="General">
                  <c:v>6775</c:v>
                </c:pt>
                <c:pt idx="82" formatCode="General">
                  <c:v>4068</c:v>
                </c:pt>
                <c:pt idx="83" formatCode="General">
                  <c:v>11408</c:v>
                </c:pt>
                <c:pt idx="84" formatCode="General">
                  <c:v>15840</c:v>
                </c:pt>
                <c:pt idx="85" formatCode="General">
                  <c:v>13796</c:v>
                </c:pt>
                <c:pt idx="86" formatCode="General">
                  <c:v>14588</c:v>
                </c:pt>
                <c:pt idx="87" formatCode="General">
                  <c:v>14776</c:v>
                </c:pt>
                <c:pt idx="88" formatCode="General">
                  <c:v>7824</c:v>
                </c:pt>
                <c:pt idx="89" formatCode="General">
                  <c:v>4587</c:v>
                </c:pt>
                <c:pt idx="90" formatCode="General">
                  <c:v>12325</c:v>
                </c:pt>
                <c:pt idx="91" formatCode="General">
                  <c:v>16777</c:v>
                </c:pt>
                <c:pt idx="92" formatCode="General">
                  <c:v>15237</c:v>
                </c:pt>
                <c:pt idx="93" formatCode="General">
                  <c:v>14649</c:v>
                </c:pt>
                <c:pt idx="94" formatCode="General">
                  <c:v>13169</c:v>
                </c:pt>
                <c:pt idx="95" formatCode="General">
                  <c:v>9130</c:v>
                </c:pt>
                <c:pt idx="96" formatCode="General">
                  <c:v>3982</c:v>
                </c:pt>
                <c:pt idx="97" formatCode="General">
                  <c:v>10653</c:v>
                </c:pt>
                <c:pt idx="98" formatCode="General">
                  <c:v>15358</c:v>
                </c:pt>
                <c:pt idx="99" formatCode="General">
                  <c:v>14535</c:v>
                </c:pt>
                <c:pt idx="100" formatCode="General">
                  <c:v>11244</c:v>
                </c:pt>
                <c:pt idx="101" formatCode="General">
                  <c:v>14958</c:v>
                </c:pt>
                <c:pt idx="102" formatCode="General">
                  <c:v>6956</c:v>
                </c:pt>
                <c:pt idx="103" formatCode="General">
                  <c:v>3332</c:v>
                </c:pt>
                <c:pt idx="104" formatCode="General">
                  <c:v>10628</c:v>
                </c:pt>
                <c:pt idx="105" formatCode="General">
                  <c:v>14028</c:v>
                </c:pt>
                <c:pt idx="106" formatCode="General">
                  <c:v>12027</c:v>
                </c:pt>
                <c:pt idx="107" formatCode="General">
                  <c:v>10660</c:v>
                </c:pt>
                <c:pt idx="108" formatCode="General">
                  <c:v>9711</c:v>
                </c:pt>
                <c:pt idx="109" formatCode="General">
                  <c:v>5466</c:v>
                </c:pt>
                <c:pt idx="110" formatCode="General">
                  <c:v>2389</c:v>
                </c:pt>
                <c:pt idx="111" formatCode="General">
                  <c:v>8240</c:v>
                </c:pt>
                <c:pt idx="112" formatCode="General">
                  <c:v>10968</c:v>
                </c:pt>
                <c:pt idx="113" formatCode="General">
                  <c:v>8847</c:v>
                </c:pt>
                <c:pt idx="114" formatCode="General">
                  <c:v>7925</c:v>
                </c:pt>
                <c:pt idx="115" formatCode="General">
                  <c:v>7710</c:v>
                </c:pt>
                <c:pt idx="116" formatCode="General">
                  <c:v>3969</c:v>
                </c:pt>
                <c:pt idx="117" formatCode="General">
                  <c:v>1743</c:v>
                </c:pt>
                <c:pt idx="118" formatCode="General">
                  <c:v>6934</c:v>
                </c:pt>
                <c:pt idx="119" formatCode="General">
                  <c:v>8629</c:v>
                </c:pt>
                <c:pt idx="120" formatCode="General">
                  <c:v>7262</c:v>
                </c:pt>
                <c:pt idx="121" formatCode="General">
                  <c:v>6244</c:v>
                </c:pt>
                <c:pt idx="122" formatCode="General">
                  <c:v>3837</c:v>
                </c:pt>
                <c:pt idx="123" formatCode="General">
                  <c:v>2160</c:v>
                </c:pt>
                <c:pt idx="124" formatCode="General">
                  <c:v>1925</c:v>
                </c:pt>
                <c:pt idx="125" formatCode="General">
                  <c:v>1419</c:v>
                </c:pt>
                <c:pt idx="126" formatCode="General">
                  <c:v>5580</c:v>
                </c:pt>
                <c:pt idx="127" formatCode="General">
                  <c:v>7051</c:v>
                </c:pt>
                <c:pt idx="128" formatCode="General">
                  <c:v>5282</c:v>
                </c:pt>
                <c:pt idx="129" formatCode="General">
                  <c:v>4820</c:v>
                </c:pt>
                <c:pt idx="130" formatCode="General">
                  <c:v>2204</c:v>
                </c:pt>
                <c:pt idx="131" formatCode="General">
                  <c:v>985</c:v>
                </c:pt>
                <c:pt idx="132" formatCode="General">
                  <c:v>3868</c:v>
                </c:pt>
                <c:pt idx="133" formatCode="General">
                  <c:v>5056</c:v>
                </c:pt>
                <c:pt idx="134" formatCode="General">
                  <c:v>3714</c:v>
                </c:pt>
                <c:pt idx="135" formatCode="General">
                  <c:v>3264</c:v>
                </c:pt>
                <c:pt idx="136" formatCode="General">
                  <c:v>3215</c:v>
                </c:pt>
                <c:pt idx="137" formatCode="General">
                  <c:v>1541</c:v>
                </c:pt>
                <c:pt idx="138" formatCode="General">
                  <c:v>833</c:v>
                </c:pt>
                <c:pt idx="139" formatCode="General">
                  <c:v>3335</c:v>
                </c:pt>
                <c:pt idx="140" formatCode="General">
                  <c:v>3815</c:v>
                </c:pt>
                <c:pt idx="141" formatCode="General">
                  <c:v>2950</c:v>
                </c:pt>
                <c:pt idx="142" formatCode="General">
                  <c:v>2629</c:v>
                </c:pt>
                <c:pt idx="143" formatCode="General">
                  <c:v>2595</c:v>
                </c:pt>
                <c:pt idx="144" formatCode="General">
                  <c:v>13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7D6-49D4-BBCA-40283A14DE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C$93:$C$274</c:f>
              <c:numCache>
                <c:formatCode>General</c:formatCode>
                <c:ptCount val="182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7D6-49D4-BBCA-40283A14DEDD}"/>
            </c:ext>
          </c:extLst>
        </c:ser>
        <c:ser>
          <c:idx val="4"/>
          <c:order val="2"/>
          <c:tx>
            <c:strRef>
              <c:f>Sheet1!$G$1</c:f>
              <c:strCache>
                <c:ptCount val="1"/>
                <c:pt idx="0">
                  <c:v>1.10</c:v>
                </c:pt>
              </c:strCache>
            </c:strRef>
          </c:tx>
          <c:spPr>
            <a:ln w="28575" cap="rnd">
              <a:solidFill>
                <a:srgbClr val="00CD61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G$93:$G$274</c:f>
              <c:numCache>
                <c:formatCode>General</c:formatCode>
                <c:ptCount val="182"/>
                <c:pt idx="88">
                  <c:v>13565.398587364976</c:v>
                </c:pt>
                <c:pt idx="89">
                  <c:v>13597.620772138698</c:v>
                </c:pt>
                <c:pt idx="90">
                  <c:v>13548.918318527833</c:v>
                </c:pt>
                <c:pt idx="91">
                  <c:v>13455.939457546039</c:v>
                </c:pt>
                <c:pt idx="92">
                  <c:v>13336.901120744071</c:v>
                </c:pt>
                <c:pt idx="93">
                  <c:v>13201.041345989797</c:v>
                </c:pt>
                <c:pt idx="94">
                  <c:v>13053.250245753177</c:v>
                </c:pt>
                <c:pt idx="95">
                  <c:v>12896.318961767711</c:v>
                </c:pt>
                <c:pt idx="96">
                  <c:v>12732.020108445684</c:v>
                </c:pt>
                <c:pt idx="97">
                  <c:v>12561.620250351514</c:v>
                </c:pt>
                <c:pt idx="98">
                  <c:v>12386.119621972726</c:v>
                </c:pt>
                <c:pt idx="99">
                  <c:v>12206.362920696471</c:v>
                </c:pt>
                <c:pt idx="100">
                  <c:v>12023.090421835983</c:v>
                </c:pt>
                <c:pt idx="101">
                  <c:v>11836.962221911288</c:v>
                </c:pt>
                <c:pt idx="102">
                  <c:v>11648.570807348526</c:v>
                </c:pt>
                <c:pt idx="103">
                  <c:v>11458.448766482525</c:v>
                </c:pt>
                <c:pt idx="104">
                  <c:v>11267.074560520114</c:v>
                </c:pt>
                <c:pt idx="105">
                  <c:v>11074.877508179043</c:v>
                </c:pt>
                <c:pt idx="106">
                  <c:v>10882.242381785769</c:v>
                </c:pt>
                <c:pt idx="107">
                  <c:v>10689.513712989812</c:v>
                </c:pt>
                <c:pt idx="108">
                  <c:v>10496.999805791134</c:v>
                </c:pt>
                <c:pt idx="109">
                  <c:v>10304.976434519584</c:v>
                </c:pt>
                <c:pt idx="110">
                  <c:v>10113.69021224228</c:v>
                </c:pt>
                <c:pt idx="111">
                  <c:v>9923.361629071529</c:v>
                </c:pt>
                <c:pt idx="112">
                  <c:v>9734.1877720736393</c:v>
                </c:pt>
                <c:pt idx="113">
                  <c:v>9546.3447468654849</c:v>
                </c:pt>
                <c:pt idx="114">
                  <c:v>9359.989825699653</c:v>
                </c:pt>
                <c:pt idx="115">
                  <c:v>9175.2633487234507</c:v>
                </c:pt>
                <c:pt idx="116">
                  <c:v>8992.2904050442994</c:v>
                </c:pt>
                <c:pt idx="117">
                  <c:v>8811.1823189776806</c:v>
                </c:pt>
                <c:pt idx="118">
                  <c:v>8632.0379649301503</c:v>
                </c:pt>
                <c:pt idx="119">
                  <c:v>8454.9449321447137</c:v>
                </c:pt>
                <c:pt idx="120">
                  <c:v>8279.9805582433582</c:v>
                </c:pt>
                <c:pt idx="121">
                  <c:v>8107.2128482826047</c:v>
                </c:pt>
                <c:pt idx="122">
                  <c:v>7936.701293970641</c:v>
                </c:pt>
                <c:pt idx="123">
                  <c:v>7768.4976058159664</c:v>
                </c:pt>
                <c:pt idx="124">
                  <c:v>7602.6463692990101</c:v>
                </c:pt>
                <c:pt idx="125">
                  <c:v>7439.1856346759896</c:v>
                </c:pt>
                <c:pt idx="126">
                  <c:v>7278.1474487267014</c:v>
                </c:pt>
                <c:pt idx="127">
                  <c:v>7119.5583356283587</c:v>
                </c:pt>
                <c:pt idx="128">
                  <c:v>6963.4397331588161</c:v>
                </c:pt>
                <c:pt idx="129">
                  <c:v>6809.8083895867212</c:v>
                </c:pt>
                <c:pt idx="130">
                  <c:v>6658.6767258768996</c:v>
                </c:pt>
                <c:pt idx="131">
                  <c:v>6510.0531672116349</c:v>
                </c:pt>
                <c:pt idx="132">
                  <c:v>6363.942447288402</c:v>
                </c:pt>
                <c:pt idx="133">
                  <c:v>6220.3458883906142</c:v>
                </c:pt>
                <c:pt idx="134">
                  <c:v>6079.2616598290442</c:v>
                </c:pt>
                <c:pt idx="135">
                  <c:v>5940.6850170089601</c:v>
                </c:pt>
                <c:pt idx="136">
                  <c:v>5804.6085230835033</c:v>
                </c:pt>
                <c:pt idx="137">
                  <c:v>5671.0222549007694</c:v>
                </c:pt>
                <c:pt idx="138">
                  <c:v>5539.9139947345457</c:v>
                </c:pt>
                <c:pt idx="139">
                  <c:v>5411.2694091014473</c:v>
                </c:pt>
                <c:pt idx="140">
                  <c:v>5285.072215806259</c:v>
                </c:pt>
                <c:pt idx="141">
                  <c:v>5161.3043402186613</c:v>
                </c:pt>
                <c:pt idx="142">
                  <c:v>5039.9460616651231</c:v>
                </c:pt>
                <c:pt idx="143">
                  <c:v>4920.9761507168096</c:v>
                </c:pt>
                <c:pt idx="144">
                  <c:v>4804.3719980655906</c:v>
                </c:pt>
                <c:pt idx="145">
                  <c:v>4690.1097356035389</c:v>
                </c:pt>
                <c:pt idx="146">
                  <c:v>4578.1643502550887</c:v>
                </c:pt>
                <c:pt idx="147">
                  <c:v>4468.5097910536624</c:v>
                </c:pt>
                <c:pt idx="148">
                  <c:v>4361.1190699049157</c:v>
                </c:pt>
                <c:pt idx="149">
                  <c:v>4255.9643564357075</c:v>
                </c:pt>
                <c:pt idx="150">
                  <c:v>4153.017067290396</c:v>
                </c:pt>
                <c:pt idx="151" formatCode="#,##0">
                  <c:v>4052.2479502035376</c:v>
                </c:pt>
                <c:pt idx="152" formatCode="#,##0">
                  <c:v>3953.6271631495847</c:v>
                </c:pt>
                <c:pt idx="153" formatCode="#,##0">
                  <c:v>3857.1243488453674</c:v>
                </c:pt>
                <c:pt idx="154" formatCode="#,##0">
                  <c:v>3762.7087048593494</c:v>
                </c:pt>
                <c:pt idx="155" formatCode="#,##0">
                  <c:v>3670.3490495624683</c:v>
                </c:pt>
                <c:pt idx="156" formatCode="#,##0">
                  <c:v>3580.0138841385356</c:v>
                </c:pt>
                <c:pt idx="157" formatCode="#,##0">
                  <c:v>3491.6714508571886</c:v>
                </c:pt>
                <c:pt idx="158" formatCode="#,##0">
                  <c:v>3405.2897877991431</c:v>
                </c:pt>
                <c:pt idx="159" formatCode="#,##0">
                  <c:v>3320.8367802116381</c:v>
                </c:pt>
                <c:pt idx="160" formatCode="#,##0">
                  <c:v>3238.2802086613838</c:v>
                </c:pt>
                <c:pt idx="161" formatCode="#,##0">
                  <c:v>3157.5877941427698</c:v>
                </c:pt>
                <c:pt idx="162" formatCode="#,##0">
                  <c:v>3078.7272402904882</c:v>
                </c:pt>
                <c:pt idx="163" formatCode="#,##0">
                  <c:v>3001.6662728378628</c:v>
                </c:pt>
                <c:pt idx="164" formatCode="#,##0">
                  <c:v>2926.3726764550584</c:v>
                </c:pt>
                <c:pt idx="165" formatCode="#,##0">
                  <c:v>2852.8143290947587</c:v>
                </c:pt>
                <c:pt idx="166" formatCode="#,##0">
                  <c:v>2780.9592339668447</c:v>
                </c:pt>
                <c:pt idx="167" formatCode="#,##0">
                  <c:v>2710.7755492580272</c:v>
                </c:pt>
                <c:pt idx="168" formatCode="#,##0">
                  <c:v>2642.2316157071173</c:v>
                </c:pt>
                <c:pt idx="169" formatCode="#,##0">
                  <c:v>2575.2959821417821</c:v>
                </c:pt>
                <c:pt idx="170" formatCode="#,##0">
                  <c:v>2509.9374290780111</c:v>
                </c:pt>
                <c:pt idx="171" formatCode="#,##0">
                  <c:v>2446.1249904791971</c:v>
                </c:pt>
                <c:pt idx="172" formatCode="#,##0">
                  <c:v>2383.8279737676639</c:v>
                </c:pt>
                <c:pt idx="173" formatCode="#,##0">
                  <c:v>2323.0159781775351</c:v>
                </c:pt>
                <c:pt idx="174" formatCode="#,##0">
                  <c:v>2263.6589115341962</c:v>
                </c:pt>
                <c:pt idx="175" formatCode="#,##0">
                  <c:v>2205.7270055419972</c:v>
                </c:pt>
                <c:pt idx="176" formatCode="#,##0">
                  <c:v>2149.190829658527</c:v>
                </c:pt>
                <c:pt idx="177" formatCode="#,##0">
                  <c:v>2094.0213036304749</c:v>
                </c:pt>
                <c:pt idx="178" formatCode="#,##0">
                  <c:v>2040.1897087630277</c:v>
                </c:pt>
                <c:pt idx="179" formatCode="#,##0">
                  <c:v>1987.667697991727</c:v>
                </c:pt>
                <c:pt idx="180" formatCode="#,##0">
                  <c:v>1936.4273048228154</c:v>
                </c:pt>
                <c:pt idx="181" formatCode="#,##0">
                  <c:v>1886.44095120532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7D6-49D4-BBCA-40283A14DEDD}"/>
            </c:ext>
          </c:extLst>
        </c:ser>
        <c:ser>
          <c:idx val="2"/>
          <c:order val="3"/>
          <c:tx>
            <c:v>V3</c:v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val>
            <c:numRef>
              <c:f>Sheet1!$H$93:$H$274</c:f>
              <c:numCache>
                <c:formatCode>General</c:formatCode>
                <c:ptCount val="182"/>
                <c:pt idx="88" formatCode="#,##0">
                  <c:v>12384.255429978144</c:v>
                </c:pt>
                <c:pt idx="89" formatCode="#,##0">
                  <c:v>12381.738495540094</c:v>
                </c:pt>
                <c:pt idx="90" formatCode="#,##0">
                  <c:v>12305.469843726962</c:v>
                </c:pt>
                <c:pt idx="91" formatCode="#,##0">
                  <c:v>12188.82353865699</c:v>
                </c:pt>
                <c:pt idx="92" formatCode="#,##0">
                  <c:v>12048.336460701657</c:v>
                </c:pt>
                <c:pt idx="93" formatCode="#,##0">
                  <c:v>11892.419536044787</c:v>
                </c:pt>
                <c:pt idx="94" formatCode="#,##0">
                  <c:v>11725.337532383628</c:v>
                </c:pt>
                <c:pt idx="95" formatCode="#,##0">
                  <c:v>11549.732364132808</c:v>
                </c:pt>
                <c:pt idx="96" formatCode="#,##0">
                  <c:v>11368.184119566578</c:v>
                </c:pt>
                <c:pt idx="97" formatCode="#,##0">
                  <c:v>11182.388903323426</c:v>
                </c:pt>
                <c:pt idx="98" formatCode="#,##0">
                  <c:v>10992.446750536743</c:v>
                </c:pt>
                <c:pt idx="99" formatCode="#,##0">
                  <c:v>10798.254563455468</c:v>
                </c:pt>
                <c:pt idx="100" formatCode="#,##0">
                  <c:v>10599.929503923397</c:v>
                </c:pt>
                <c:pt idx="101" formatCode="#,##0">
                  <c:v>10397.78209807549</c:v>
                </c:pt>
                <c:pt idx="102" formatCode="#,##0">
                  <c:v>10192.570969851162</c:v>
                </c:pt>
                <c:pt idx="103" formatCode="#,##0">
                  <c:v>9985.9146241609851</c:v>
                </c:pt>
                <c:pt idx="104" formatCode="#,##0">
                  <c:v>9778.9121406780287</c:v>
                </c:pt>
                <c:pt idx="105" formatCode="#,##0">
                  <c:v>9571.3725769656448</c:v>
                </c:pt>
                <c:pt idx="106" formatCode="#,##0">
                  <c:v>9363.0780046187883</c:v>
                </c:pt>
                <c:pt idx="107" formatCode="#,##0">
                  <c:v>9153.9058971181184</c:v>
                </c:pt>
                <c:pt idx="108" formatCode="#,##0">
                  <c:v>8943.8612066982005</c:v>
                </c:pt>
                <c:pt idx="109" formatCode="#,##0">
                  <c:v>8733.4826071830303</c:v>
                </c:pt>
                <c:pt idx="110" formatCode="#,##0">
                  <c:v>8524.2805747821403</c:v>
                </c:pt>
                <c:pt idx="111" formatCode="#,##0">
                  <c:v>8317.3851737700406</c:v>
                </c:pt>
                <c:pt idx="112" formatCode="#,##0">
                  <c:v>8112.739096901033</c:v>
                </c:pt>
                <c:pt idx="113" formatCode="#,##0">
                  <c:v>7909.927352430961</c:v>
                </c:pt>
                <c:pt idx="114" formatCode="#,##0">
                  <c:v>7708.9144896136586</c:v>
                </c:pt>
                <c:pt idx="115" formatCode="#,##0">
                  <c:v>7509.7857886288766</c:v>
                </c:pt>
                <c:pt idx="116" formatCode="#,##0">
                  <c:v>7312.8031151383575</c:v>
                </c:pt>
                <c:pt idx="117" formatCode="#,##0">
                  <c:v>7118.9528990941071</c:v>
                </c:pt>
                <c:pt idx="118" formatCode="#,##0">
                  <c:v>6929.0458682360886</c:v>
                </c:pt>
                <c:pt idx="119" formatCode="#,##0">
                  <c:v>6742.8497714274572</c:v>
                </c:pt>
                <c:pt idx="120" formatCode="#,##0">
                  <c:v>6560.1632156124761</c:v>
                </c:pt>
                <c:pt idx="121" formatCode="#,##0">
                  <c:v>6380.8665114722608</c:v>
                </c:pt>
                <c:pt idx="122" formatCode="#,##0">
                  <c:v>6204.9209476599099</c:v>
                </c:pt>
                <c:pt idx="123" formatCode="#,##0">
                  <c:v>6032.350733621276</c:v>
                </c:pt>
                <c:pt idx="124" formatCode="#,##0">
                  <c:v>5863.7071431953927</c:v>
                </c:pt>
                <c:pt idx="125" formatCode="#,##0">
                  <c:v>5699.3104253141364</c:v>
                </c:pt>
                <c:pt idx="126" formatCode="#,##0">
                  <c:v>5538.8605473874723</c:v>
                </c:pt>
                <c:pt idx="127" formatCode="#,##0">
                  <c:v>5382.0056795178034</c:v>
                </c:pt>
                <c:pt idx="128" formatCode="#,##0">
                  <c:v>5228.5828147970387</c:v>
                </c:pt>
                <c:pt idx="129" formatCode="#,##0">
                  <c:v>5078.472171521812</c:v>
                </c:pt>
                <c:pt idx="130" formatCode="#,##0">
                  <c:v>4931.2859269107666</c:v>
                </c:pt>
                <c:pt idx="131" formatCode="#,##0">
                  <c:v>4786.8400647836488</c:v>
                </c:pt>
                <c:pt idx="132" formatCode="#,##0">
                  <c:v>4645.0658134591567</c:v>
                </c:pt>
                <c:pt idx="133" formatCode="#,##0">
                  <c:v>4505.9570592995324</c:v>
                </c:pt>
                <c:pt idx="134" formatCode="#,##0">
                  <c:v>4369.5391905155029</c:v>
                </c:pt>
                <c:pt idx="135" formatCode="#,##0">
                  <c:v>4235.850782959873</c:v>
                </c:pt>
                <c:pt idx="136" formatCode="#,##0">
                  <c:v>4104.9330139377107</c:v>
                </c:pt>
                <c:pt idx="137" formatCode="#,##0">
                  <c:v>3976.8237353467121</c:v>
                </c:pt>
                <c:pt idx="138" formatCode="#,##0">
                  <c:v>3851.5543523439878</c:v>
                </c:pt>
                <c:pt idx="139" formatCode="#,##0">
                  <c:v>3729.1873464644714</c:v>
                </c:pt>
                <c:pt idx="140" formatCode="#,##0">
                  <c:v>3609.7547346826841</c:v>
                </c:pt>
                <c:pt idx="141" formatCode="#,##0">
                  <c:v>3493.2671870488753</c:v>
                </c:pt>
                <c:pt idx="142" formatCode="#,##0">
                  <c:v>3379.7201969371345</c:v>
                </c:pt>
                <c:pt idx="143" formatCode="#,##0">
                  <c:v>3269.0982845634344</c:v>
                </c:pt>
                <c:pt idx="144" formatCode="#,##0">
                  <c:v>3161.4788453360129</c:v>
                </c:pt>
                <c:pt idx="145" formatCode="#,##0">
                  <c:v>3056.8756506496816</c:v>
                </c:pt>
                <c:pt idx="146" formatCode="#,##0">
                  <c:v>2955.263682521128</c:v>
                </c:pt>
                <c:pt idx="147" formatCode="#,##0">
                  <c:v>2856.5950830364159</c:v>
                </c:pt>
                <c:pt idx="148" formatCode="#,##0">
                  <c:v>2760.8092849306327</c:v>
                </c:pt>
                <c:pt idx="149" formatCode="#,##0">
                  <c:v>2667.8393428623863</c:v>
                </c:pt>
                <c:pt idx="150" formatCode="#,##0">
                  <c:v>2577.6157983374615</c:v>
                </c:pt>
                <c:pt idx="151" formatCode="#,##0">
                  <c:v>2490.0689580300646</c:v>
                </c:pt>
                <c:pt idx="152" formatCode="#,##0">
                  <c:v>2405.1301648471999</c:v>
                </c:pt>
                <c:pt idx="153" formatCode="#,##0">
                  <c:v>2322.7324415182925</c:v>
                </c:pt>
                <c:pt idx="154" formatCode="#,##0">
                  <c:v>2242.8107538731028</c:v>
                </c:pt>
                <c:pt idx="155" formatCode="#,##0">
                  <c:v>2165.3020529749319</c:v>
                </c:pt>
                <c:pt idx="156" formatCode="#,##0">
                  <c:v>2090.1451970928133</c:v>
                </c:pt>
                <c:pt idx="157" formatCode="#,##0">
                  <c:v>2017.2808162434233</c:v>
                </c:pt>
                <c:pt idx="158" formatCode="#,##0">
                  <c:v>1946.6511570911789</c:v>
                </c:pt>
                <c:pt idx="159" formatCode="#,##0">
                  <c:v>1876.7764437657638</c:v>
                </c:pt>
                <c:pt idx="160" formatCode="#,##0">
                  <c:v>1806.9948930583569</c:v>
                </c:pt>
                <c:pt idx="161" formatCode="#,##0">
                  <c:v>1737.1294337300574</c:v>
                </c:pt>
                <c:pt idx="162" formatCode="#,##0">
                  <c:v>1667.2344082769919</c:v>
                </c:pt>
                <c:pt idx="163" formatCode="#,##0">
                  <c:v>1597.632388162375</c:v>
                </c:pt>
                <c:pt idx="164" formatCode="#,##0">
                  <c:v>1528.6142668625741</c:v>
                </c:pt>
                <c:pt idx="165" formatCode="#,##0">
                  <c:v>1460.4380239323395</c:v>
                </c:pt>
                <c:pt idx="166" formatCode="#,##0">
                  <c:v>1393.3302245246157</c:v>
                </c:pt>
                <c:pt idx="167" formatCode="#,##0">
                  <c:v>1327.4883564475529</c:v>
                </c:pt>
                <c:pt idx="168" formatCode="#,##0">
                  <c:v>1263.3138355689778</c:v>
                </c:pt>
                <c:pt idx="169" formatCode="#,##0">
                  <c:v>1201.0440251995058</c:v>
                </c:pt>
                <c:pt idx="170" formatCode="#,##0">
                  <c:v>1140.8128591460841</c:v>
                </c:pt>
                <c:pt idx="171" formatCode="#,##0">
                  <c:v>1082.6891558147577</c:v>
                </c:pt>
                <c:pt idx="172" formatCode="#,##0">
                  <c:v>1026.7007613243163</c:v>
                </c:pt>
                <c:pt idx="173" formatCode="#,##0">
                  <c:v>972.84968294209114</c:v>
                </c:pt>
                <c:pt idx="174" formatCode="#,##0">
                  <c:v>921.12150496045706</c:v>
                </c:pt>
                <c:pt idx="175" formatCode="#,##0">
                  <c:v>871.64745552548391</c:v>
                </c:pt>
                <c:pt idx="176" formatCode="#,##0">
                  <c:v>824.76256741152724</c:v>
                </c:pt>
                <c:pt idx="177" formatCode="#,##0">
                  <c:v>780.55320998582943</c:v>
                </c:pt>
                <c:pt idx="178" formatCode="#,##0">
                  <c:v>738.96800632447344</c:v>
                </c:pt>
                <c:pt idx="179" formatCode="#,##0">
                  <c:v>699.88390304256825</c:v>
                </c:pt>
                <c:pt idx="180" formatCode="#,##0">
                  <c:v>663.14514194385958</c:v>
                </c:pt>
                <c:pt idx="181" formatCode="#,##0">
                  <c:v>628.585809725056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B8C-45EE-A9B5-86164ED9BF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19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25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50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  <a:prstDash val="sysDash"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6739193507083425"/>
        </c:manualLayout>
      </c:layout>
      <c:barChart>
        <c:barDir val="col"/>
        <c:grouping val="clustered"/>
        <c:varyColors val="0"/>
        <c:ser>
          <c:idx val="5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8257</c:v>
                </c:pt>
                <c:pt idx="1">
                  <c:v>8439</c:v>
                </c:pt>
                <c:pt idx="2">
                  <c:v>8384</c:v>
                </c:pt>
                <c:pt idx="3">
                  <c:v>8389</c:v>
                </c:pt>
                <c:pt idx="4">
                  <c:v>8453</c:v>
                </c:pt>
                <c:pt idx="5">
                  <c:v>8109</c:v>
                </c:pt>
                <c:pt idx="6">
                  <c:v>8333</c:v>
                </c:pt>
                <c:pt idx="7">
                  <c:v>9008</c:v>
                </c:pt>
                <c:pt idx="8">
                  <c:v>8983</c:v>
                </c:pt>
                <c:pt idx="9">
                  <c:v>9004</c:v>
                </c:pt>
                <c:pt idx="10">
                  <c:v>8966</c:v>
                </c:pt>
                <c:pt idx="11">
                  <c:v>8934</c:v>
                </c:pt>
                <c:pt idx="12">
                  <c:v>8533</c:v>
                </c:pt>
                <c:pt idx="13">
                  <c:v>8747</c:v>
                </c:pt>
                <c:pt idx="14">
                  <c:v>9463</c:v>
                </c:pt>
                <c:pt idx="15">
                  <c:v>9331</c:v>
                </c:pt>
                <c:pt idx="16">
                  <c:v>9162</c:v>
                </c:pt>
                <c:pt idx="17">
                  <c:v>8958</c:v>
                </c:pt>
                <c:pt idx="18">
                  <c:v>8768</c:v>
                </c:pt>
                <c:pt idx="19">
                  <c:v>8209</c:v>
                </c:pt>
                <c:pt idx="20">
                  <c:v>8323</c:v>
                </c:pt>
                <c:pt idx="21">
                  <c:v>8959</c:v>
                </c:pt>
                <c:pt idx="22">
                  <c:v>8627</c:v>
                </c:pt>
                <c:pt idx="23">
                  <c:v>8311</c:v>
                </c:pt>
                <c:pt idx="24">
                  <c:v>8156</c:v>
                </c:pt>
                <c:pt idx="25">
                  <c:v>8032</c:v>
                </c:pt>
                <c:pt idx="26">
                  <c:v>7510</c:v>
                </c:pt>
                <c:pt idx="27">
                  <c:v>7560</c:v>
                </c:pt>
                <c:pt idx="28">
                  <c:v>8099</c:v>
                </c:pt>
                <c:pt idx="29">
                  <c:v>7831</c:v>
                </c:pt>
                <c:pt idx="30">
                  <c:v>7511</c:v>
                </c:pt>
                <c:pt idx="31">
                  <c:v>7207</c:v>
                </c:pt>
                <c:pt idx="32">
                  <c:v>6381</c:v>
                </c:pt>
                <c:pt idx="33">
                  <c:v>6230</c:v>
                </c:pt>
                <c:pt idx="34">
                  <c:v>6327</c:v>
                </c:pt>
                <c:pt idx="35">
                  <c:v>6399</c:v>
                </c:pt>
                <c:pt idx="36">
                  <c:v>7078</c:v>
                </c:pt>
                <c:pt idx="37">
                  <c:v>6722</c:v>
                </c:pt>
                <c:pt idx="38">
                  <c:v>6249</c:v>
                </c:pt>
                <c:pt idx="39">
                  <c:v>5934</c:v>
                </c:pt>
                <c:pt idx="40">
                  <c:v>5296</c:v>
                </c:pt>
                <c:pt idx="41">
                  <c:v>5251</c:v>
                </c:pt>
                <c:pt idx="42">
                  <c:v>5547</c:v>
                </c:pt>
                <c:pt idx="43">
                  <c:v>5240</c:v>
                </c:pt>
                <c:pt idx="44">
                  <c:v>4945</c:v>
                </c:pt>
                <c:pt idx="45">
                  <c:v>4685</c:v>
                </c:pt>
                <c:pt idx="46">
                  <c:v>4443</c:v>
                </c:pt>
                <c:pt idx="47">
                  <c:v>4038</c:v>
                </c:pt>
                <c:pt idx="48">
                  <c:v>4053</c:v>
                </c:pt>
                <c:pt idx="49">
                  <c:v>4330</c:v>
                </c:pt>
                <c:pt idx="50">
                  <c:v>4151</c:v>
                </c:pt>
                <c:pt idx="51">
                  <c:v>3965</c:v>
                </c:pt>
                <c:pt idx="52">
                  <c:v>3695</c:v>
                </c:pt>
                <c:pt idx="53">
                  <c:v>3468</c:v>
                </c:pt>
                <c:pt idx="54">
                  <c:v>3144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B8A-446E-9AD8-958D146303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7346.4879573838834</c:v>
                </c:pt>
                <c:pt idx="32">
                  <c:v>7170.0064377452973</c:v>
                </c:pt>
                <c:pt idx="33">
                  <c:v>6989.7877903759017</c:v>
                </c:pt>
                <c:pt idx="34">
                  <c:v>6815.2995642743736</c:v>
                </c:pt>
                <c:pt idx="35">
                  <c:v>6643.7396875911763</c:v>
                </c:pt>
                <c:pt idx="36">
                  <c:v>6471.8590522637969</c:v>
                </c:pt>
                <c:pt idx="37">
                  <c:v>6301.9657010734736</c:v>
                </c:pt>
                <c:pt idx="38">
                  <c:v>6130.7964568235693</c:v>
                </c:pt>
                <c:pt idx="39">
                  <c:v>5955.6341215840475</c:v>
                </c:pt>
                <c:pt idx="40">
                  <c:v>5779.1811987865312</c:v>
                </c:pt>
                <c:pt idx="41">
                  <c:v>5603.0466812152017</c:v>
                </c:pt>
                <c:pt idx="42">
                  <c:v>5424.4975767620335</c:v>
                </c:pt>
                <c:pt idx="43">
                  <c:v>5242.6157862713262</c:v>
                </c:pt>
                <c:pt idx="44">
                  <c:v>5059.6774939008719</c:v>
                </c:pt>
                <c:pt idx="45">
                  <c:v>4876.989409061167</c:v>
                </c:pt>
                <c:pt idx="46">
                  <c:v>4696.2160513404879</c:v>
                </c:pt>
                <c:pt idx="47">
                  <c:v>4518.0856342378856</c:v>
                </c:pt>
                <c:pt idx="48">
                  <c:v>4342.538385775586</c:v>
                </c:pt>
                <c:pt idx="49">
                  <c:v>4168.230104141684</c:v>
                </c:pt>
                <c:pt idx="50">
                  <c:v>3996.1161037365364</c:v>
                </c:pt>
                <c:pt idx="51">
                  <c:v>3828.035495509002</c:v>
                </c:pt>
                <c:pt idx="52">
                  <c:v>3664.4067003691898</c:v>
                </c:pt>
                <c:pt idx="53">
                  <c:v>3505.8406400109211</c:v>
                </c:pt>
                <c:pt idx="54">
                  <c:v>3352.1608032909389</c:v>
                </c:pt>
                <c:pt idx="55">
                  <c:v>3203.816005256851</c:v>
                </c:pt>
                <c:pt idx="56">
                  <c:v>3060.3014328954155</c:v>
                </c:pt>
                <c:pt idx="57">
                  <c:v>2921.9641476191214</c:v>
                </c:pt>
                <c:pt idx="58">
                  <c:v>2788.7865861819605</c:v>
                </c:pt>
                <c:pt idx="59">
                  <c:v>2660.5743671930536</c:v>
                </c:pt>
                <c:pt idx="60">
                  <c:v>2537.61339141343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B8A-446E-9AD8-958D146303A4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31">
                  <c:v>7359.1487400988754</c:v>
                </c:pt>
                <c:pt idx="32">
                  <c:v>7205.0885308419947</c:v>
                </c:pt>
                <c:pt idx="33">
                  <c:v>7053.3694681235784</c:v>
                </c:pt>
                <c:pt idx="34">
                  <c:v>6911.0531346519101</c:v>
                </c:pt>
                <c:pt idx="35">
                  <c:v>6776.1091415651281</c:v>
                </c:pt>
                <c:pt idx="36">
                  <c:v>6646.1347401229223</c:v>
                </c:pt>
                <c:pt idx="37">
                  <c:v>6523.895107159472</c:v>
                </c:pt>
                <c:pt idx="38">
                  <c:v>6406.2383290128155</c:v>
                </c:pt>
                <c:pt idx="39">
                  <c:v>6288.142417912637</c:v>
                </c:pt>
                <c:pt idx="40">
                  <c:v>6170.9172249777539</c:v>
                </c:pt>
                <c:pt idx="41">
                  <c:v>6055.4780215670071</c:v>
                </c:pt>
                <c:pt idx="42">
                  <c:v>5938.7968252177707</c:v>
                </c:pt>
                <c:pt idx="43">
                  <c:v>5819.3191674173222</c:v>
                </c:pt>
                <c:pt idx="44">
                  <c:v>5698.6855597230287</c:v>
                </c:pt>
                <c:pt idx="45">
                  <c:v>5577.4418957254657</c:v>
                </c:pt>
                <c:pt idx="46">
                  <c:v>5456.3998734071538</c:v>
                </c:pt>
                <c:pt idx="47">
                  <c:v>5335.9384743855671</c:v>
                </c:pt>
                <c:pt idx="48">
                  <c:v>5215.7856838108237</c:v>
                </c:pt>
                <c:pt idx="49">
                  <c:v>5094.4383769703891</c:v>
                </c:pt>
                <c:pt idx="50">
                  <c:v>4972.623913851663</c:v>
                </c:pt>
                <c:pt idx="51">
                  <c:v>4851.8472203581823</c:v>
                </c:pt>
                <c:pt idx="52">
                  <c:v>4732.3085922125483</c:v>
                </c:pt>
                <c:pt idx="53">
                  <c:v>4614.4749860336451</c:v>
                </c:pt>
                <c:pt idx="54">
                  <c:v>4498.2354309702605</c:v>
                </c:pt>
                <c:pt idx="55">
                  <c:v>4384.1393230382091</c:v>
                </c:pt>
                <c:pt idx="56">
                  <c:v>4271.6854349783744</c:v>
                </c:pt>
                <c:pt idx="57">
                  <c:v>4161.2590118095832</c:v>
                </c:pt>
                <c:pt idx="58">
                  <c:v>4052.9094442847068</c:v>
                </c:pt>
                <c:pt idx="59">
                  <c:v>3946.5181470008201</c:v>
                </c:pt>
                <c:pt idx="60">
                  <c:v>3842.50960443031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B8A-446E-9AD8-958D146303A4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7371.80952281387</c:v>
                </c:pt>
                <c:pt idx="32">
                  <c:v>7240.2104377208161</c:v>
                </c:pt>
                <c:pt idx="33">
                  <c:v>7117.0779933943268</c:v>
                </c:pt>
                <c:pt idx="34">
                  <c:v>7006.9896895826942</c:v>
                </c:pt>
                <c:pt idx="35">
                  <c:v>6909.3497764030908</c:v>
                </c:pt>
                <c:pt idx="36">
                  <c:v>6823.0439394995847</c:v>
                </c:pt>
                <c:pt idx="37">
                  <c:v>6751.6569816162273</c:v>
                </c:pt>
                <c:pt idx="38">
                  <c:v>6692.3068667328498</c:v>
                </c:pt>
                <c:pt idx="39">
                  <c:v>6637.5106256231893</c:v>
                </c:pt>
                <c:pt idx="40">
                  <c:v>6587.0938183800581</c:v>
                </c:pt>
                <c:pt idx="41">
                  <c:v>6541.5941291713798</c:v>
                </c:pt>
                <c:pt idx="42">
                  <c:v>6498.1469237986676</c:v>
                </c:pt>
                <c:pt idx="43">
                  <c:v>6454.8632429166037</c:v>
                </c:pt>
                <c:pt idx="44">
                  <c:v>6412.5304278255144</c:v>
                </c:pt>
                <c:pt idx="45">
                  <c:v>6370.8005267828094</c:v>
                </c:pt>
                <c:pt idx="46">
                  <c:v>6329.613770872741</c:v>
                </c:pt>
                <c:pt idx="47">
                  <c:v>6288.9917878197111</c:v>
                </c:pt>
                <c:pt idx="48">
                  <c:v>6248.561465378255</c:v>
                </c:pt>
                <c:pt idx="49">
                  <c:v>6206.6689206612764</c:v>
                </c:pt>
                <c:pt idx="50">
                  <c:v>6163.518700866417</c:v>
                </c:pt>
                <c:pt idx="51">
                  <c:v>6120.1656733168611</c:v>
                </c:pt>
                <c:pt idx="52">
                  <c:v>6076.5031273307877</c:v>
                </c:pt>
                <c:pt idx="53">
                  <c:v>6032.8033107301353</c:v>
                </c:pt>
                <c:pt idx="54">
                  <c:v>5988.9062310083582</c:v>
                </c:pt>
                <c:pt idx="55">
                  <c:v>5945.3046391626867</c:v>
                </c:pt>
                <c:pt idx="56">
                  <c:v>5901.4128922168784</c:v>
                </c:pt>
                <c:pt idx="57">
                  <c:v>5857.4566871165125</c:v>
                </c:pt>
                <c:pt idx="58">
                  <c:v>5813.4209416048061</c:v>
                </c:pt>
                <c:pt idx="59">
                  <c:v>5769.1524804969513</c:v>
                </c:pt>
                <c:pt idx="60">
                  <c:v>5725.07866728081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B8A-446E-9AD8-958D146303A4}"/>
            </c:ext>
          </c:extLst>
        </c:ser>
        <c:ser>
          <c:idx val="4"/>
          <c:order val="3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8156</c:v>
                </c:pt>
                <c:pt idx="1">
                  <c:v>8156</c:v>
                </c:pt>
                <c:pt idx="2">
                  <c:v>8156</c:v>
                </c:pt>
                <c:pt idx="3">
                  <c:v>8156</c:v>
                </c:pt>
                <c:pt idx="4">
                  <c:v>8156</c:v>
                </c:pt>
                <c:pt idx="5">
                  <c:v>8156</c:v>
                </c:pt>
                <c:pt idx="6">
                  <c:v>8156</c:v>
                </c:pt>
                <c:pt idx="7">
                  <c:v>8156</c:v>
                </c:pt>
                <c:pt idx="8">
                  <c:v>8156</c:v>
                </c:pt>
                <c:pt idx="9">
                  <c:v>8156</c:v>
                </c:pt>
                <c:pt idx="10">
                  <c:v>8156</c:v>
                </c:pt>
                <c:pt idx="11">
                  <c:v>8156</c:v>
                </c:pt>
                <c:pt idx="12">
                  <c:v>8156</c:v>
                </c:pt>
                <c:pt idx="13">
                  <c:v>8156</c:v>
                </c:pt>
                <c:pt idx="14">
                  <c:v>8156</c:v>
                </c:pt>
                <c:pt idx="15">
                  <c:v>8156</c:v>
                </c:pt>
                <c:pt idx="16">
                  <c:v>8156</c:v>
                </c:pt>
                <c:pt idx="17">
                  <c:v>8156</c:v>
                </c:pt>
                <c:pt idx="18">
                  <c:v>8156</c:v>
                </c:pt>
                <c:pt idx="19">
                  <c:v>8156</c:v>
                </c:pt>
                <c:pt idx="20">
                  <c:v>8156</c:v>
                </c:pt>
                <c:pt idx="21">
                  <c:v>8156</c:v>
                </c:pt>
                <c:pt idx="22">
                  <c:v>8156</c:v>
                </c:pt>
                <c:pt idx="23">
                  <c:v>8156</c:v>
                </c:pt>
                <c:pt idx="24">
                  <c:v>8156</c:v>
                </c:pt>
                <c:pt idx="25">
                  <c:v>8156</c:v>
                </c:pt>
                <c:pt idx="26">
                  <c:v>8156</c:v>
                </c:pt>
                <c:pt idx="27">
                  <c:v>8156</c:v>
                </c:pt>
                <c:pt idx="28">
                  <c:v>8156</c:v>
                </c:pt>
                <c:pt idx="29">
                  <c:v>8156</c:v>
                </c:pt>
                <c:pt idx="30">
                  <c:v>8156</c:v>
                </c:pt>
                <c:pt idx="31">
                  <c:v>8156</c:v>
                </c:pt>
                <c:pt idx="32">
                  <c:v>8156</c:v>
                </c:pt>
                <c:pt idx="33">
                  <c:v>8156</c:v>
                </c:pt>
                <c:pt idx="34">
                  <c:v>8156</c:v>
                </c:pt>
                <c:pt idx="35">
                  <c:v>8156</c:v>
                </c:pt>
                <c:pt idx="36">
                  <c:v>8156</c:v>
                </c:pt>
                <c:pt idx="37">
                  <c:v>8156</c:v>
                </c:pt>
                <c:pt idx="38">
                  <c:v>8156</c:v>
                </c:pt>
                <c:pt idx="39">
                  <c:v>8156</c:v>
                </c:pt>
                <c:pt idx="40">
                  <c:v>8156</c:v>
                </c:pt>
                <c:pt idx="41">
                  <c:v>8156</c:v>
                </c:pt>
                <c:pt idx="42">
                  <c:v>8156</c:v>
                </c:pt>
                <c:pt idx="43">
                  <c:v>8156</c:v>
                </c:pt>
                <c:pt idx="44">
                  <c:v>8156</c:v>
                </c:pt>
                <c:pt idx="45">
                  <c:v>8156</c:v>
                </c:pt>
                <c:pt idx="46">
                  <c:v>8156</c:v>
                </c:pt>
                <c:pt idx="47">
                  <c:v>8156</c:v>
                </c:pt>
                <c:pt idx="48">
                  <c:v>8156</c:v>
                </c:pt>
                <c:pt idx="49">
                  <c:v>8156</c:v>
                </c:pt>
                <c:pt idx="50">
                  <c:v>8156</c:v>
                </c:pt>
                <c:pt idx="51">
                  <c:v>8156</c:v>
                </c:pt>
                <c:pt idx="52">
                  <c:v>8156</c:v>
                </c:pt>
                <c:pt idx="53">
                  <c:v>8156</c:v>
                </c:pt>
                <c:pt idx="54">
                  <c:v>8156</c:v>
                </c:pt>
                <c:pt idx="55">
                  <c:v>8156</c:v>
                </c:pt>
                <c:pt idx="56">
                  <c:v>8156</c:v>
                </c:pt>
                <c:pt idx="57">
                  <c:v>8156</c:v>
                </c:pt>
                <c:pt idx="58">
                  <c:v>8156</c:v>
                </c:pt>
                <c:pt idx="59">
                  <c:v>8156</c:v>
                </c:pt>
                <c:pt idx="60">
                  <c:v>81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B8A-446E-9AD8-958D146303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585</c:v>
                </c:pt>
                <c:pt idx="1">
                  <c:v>1597</c:v>
                </c:pt>
                <c:pt idx="2">
                  <c:v>1624</c:v>
                </c:pt>
                <c:pt idx="3">
                  <c:v>1650</c:v>
                </c:pt>
                <c:pt idx="4">
                  <c:v>1670</c:v>
                </c:pt>
                <c:pt idx="5">
                  <c:v>1674</c:v>
                </c:pt>
                <c:pt idx="6">
                  <c:v>1676</c:v>
                </c:pt>
                <c:pt idx="7">
                  <c:v>1772</c:v>
                </c:pt>
                <c:pt idx="8">
                  <c:v>1802</c:v>
                </c:pt>
                <c:pt idx="9">
                  <c:v>1832</c:v>
                </c:pt>
                <c:pt idx="10">
                  <c:v>1821</c:v>
                </c:pt>
                <c:pt idx="11">
                  <c:v>1833</c:v>
                </c:pt>
                <c:pt idx="12">
                  <c:v>1781</c:v>
                </c:pt>
                <c:pt idx="13">
                  <c:v>1828</c:v>
                </c:pt>
                <c:pt idx="14">
                  <c:v>1885</c:v>
                </c:pt>
                <c:pt idx="15">
                  <c:v>1892</c:v>
                </c:pt>
                <c:pt idx="16">
                  <c:v>1861</c:v>
                </c:pt>
                <c:pt idx="17">
                  <c:v>1861</c:v>
                </c:pt>
                <c:pt idx="18">
                  <c:v>1821</c:v>
                </c:pt>
                <c:pt idx="19">
                  <c:v>1782</c:v>
                </c:pt>
                <c:pt idx="20">
                  <c:v>1806</c:v>
                </c:pt>
                <c:pt idx="21">
                  <c:v>1826</c:v>
                </c:pt>
                <c:pt idx="22">
                  <c:v>1778</c:v>
                </c:pt>
                <c:pt idx="23">
                  <c:v>1747</c:v>
                </c:pt>
                <c:pt idx="24">
                  <c:v>1745</c:v>
                </c:pt>
                <c:pt idx="25">
                  <c:v>1683</c:v>
                </c:pt>
                <c:pt idx="26">
                  <c:v>1647</c:v>
                </c:pt>
                <c:pt idx="27">
                  <c:v>1658</c:v>
                </c:pt>
                <c:pt idx="28">
                  <c:v>1668</c:v>
                </c:pt>
                <c:pt idx="29">
                  <c:v>1619</c:v>
                </c:pt>
                <c:pt idx="30">
                  <c:v>1560</c:v>
                </c:pt>
                <c:pt idx="31">
                  <c:v>1513</c:v>
                </c:pt>
                <c:pt idx="32">
                  <c:v>1430</c:v>
                </c:pt>
                <c:pt idx="33">
                  <c:v>1405</c:v>
                </c:pt>
                <c:pt idx="34">
                  <c:v>1385</c:v>
                </c:pt>
                <c:pt idx="35">
                  <c:v>1353</c:v>
                </c:pt>
                <c:pt idx="36">
                  <c:v>1405</c:v>
                </c:pt>
                <c:pt idx="37">
                  <c:v>1374</c:v>
                </c:pt>
                <c:pt idx="38">
                  <c:v>1328</c:v>
                </c:pt>
                <c:pt idx="39">
                  <c:v>1249</c:v>
                </c:pt>
                <c:pt idx="40">
                  <c:v>1233</c:v>
                </c:pt>
                <c:pt idx="41">
                  <c:v>1216</c:v>
                </c:pt>
                <c:pt idx="42">
                  <c:v>1203</c:v>
                </c:pt>
                <c:pt idx="43">
                  <c:v>1177</c:v>
                </c:pt>
                <c:pt idx="44">
                  <c:v>1133</c:v>
                </c:pt>
                <c:pt idx="45">
                  <c:v>1054</c:v>
                </c:pt>
                <c:pt idx="46">
                  <c:v>1032</c:v>
                </c:pt>
                <c:pt idx="47">
                  <c:v>991</c:v>
                </c:pt>
                <c:pt idx="48">
                  <c:v>995</c:v>
                </c:pt>
                <c:pt idx="49">
                  <c:v>1012</c:v>
                </c:pt>
                <c:pt idx="50">
                  <c:v>961</c:v>
                </c:pt>
                <c:pt idx="51">
                  <c:v>919</c:v>
                </c:pt>
                <c:pt idx="52">
                  <c:v>819</c:v>
                </c:pt>
                <c:pt idx="53">
                  <c:v>773</c:v>
                </c:pt>
                <c:pt idx="54">
                  <c:v>743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3F4-4929-8AD3-EA5A52DA8AE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1530.2191397925492</c:v>
                </c:pt>
                <c:pt idx="32">
                  <c:v>1496.375196120415</c:v>
                </c:pt>
                <c:pt idx="33">
                  <c:v>1462.9106233174198</c:v>
                </c:pt>
                <c:pt idx="34">
                  <c:v>1430.8212562313993</c:v>
                </c:pt>
                <c:pt idx="35">
                  <c:v>1399.7801552886681</c:v>
                </c:pt>
                <c:pt idx="36">
                  <c:v>1369.2191766887213</c:v>
                </c:pt>
                <c:pt idx="37">
                  <c:v>1338.8762059004825</c:v>
                </c:pt>
                <c:pt idx="38">
                  <c:v>1309.0435564479278</c:v>
                </c:pt>
                <c:pt idx="39">
                  <c:v>1278.9122585332334</c:v>
                </c:pt>
                <c:pt idx="40">
                  <c:v>1248.1905271099413</c:v>
                </c:pt>
                <c:pt idx="41">
                  <c:v>1217.2879555428667</c:v>
                </c:pt>
                <c:pt idx="42">
                  <c:v>1185.7562747416152</c:v>
                </c:pt>
                <c:pt idx="43">
                  <c:v>1153.4204530842198</c:v>
                </c:pt>
                <c:pt idx="44">
                  <c:v>1120.3644613469446</c:v>
                </c:pt>
                <c:pt idx="45">
                  <c:v>1086.8226049174418</c:v>
                </c:pt>
                <c:pt idx="46">
                  <c:v>1053.0999138732045</c:v>
                </c:pt>
                <c:pt idx="47">
                  <c:v>1019.3109100344344</c:v>
                </c:pt>
                <c:pt idx="48">
                  <c:v>985.4354782666253</c:v>
                </c:pt>
                <c:pt idx="49">
                  <c:v>951.48201680966565</c:v>
                </c:pt>
                <c:pt idx="50">
                  <c:v>917.70108637994485</c:v>
                </c:pt>
                <c:pt idx="51">
                  <c:v>884.25294492896614</c:v>
                </c:pt>
                <c:pt idx="52">
                  <c:v>851.42170025383575</c:v>
                </c:pt>
                <c:pt idx="53">
                  <c:v>818.99779153161614</c:v>
                </c:pt>
                <c:pt idx="54">
                  <c:v>787.09799345402007</c:v>
                </c:pt>
                <c:pt idx="55">
                  <c:v>755.85630385895911</c:v>
                </c:pt>
                <c:pt idx="56">
                  <c:v>725.39827197834825</c:v>
                </c:pt>
                <c:pt idx="57">
                  <c:v>695.83094032708323</c:v>
                </c:pt>
                <c:pt idx="58">
                  <c:v>667.14453217629364</c:v>
                </c:pt>
                <c:pt idx="59">
                  <c:v>639.40531133780212</c:v>
                </c:pt>
                <c:pt idx="60">
                  <c:v>612.574857789807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3F4-4929-8AD3-EA5A52DA8AED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31">
                  <c:v>1531.5386658376153</c:v>
                </c:pt>
                <c:pt idx="32">
                  <c:v>1500.1887729458856</c:v>
                </c:pt>
                <c:pt idx="33">
                  <c:v>1470.1483655988056</c:v>
                </c:pt>
                <c:pt idx="34">
                  <c:v>1442.2467855418952</c:v>
                </c:pt>
                <c:pt idx="35">
                  <c:v>1416.2613467966798</c:v>
                </c:pt>
                <c:pt idx="36">
                  <c:v>1391.7296455071655</c:v>
                </c:pt>
                <c:pt idx="37">
                  <c:v>1368.4703481516135</c:v>
                </c:pt>
                <c:pt idx="38">
                  <c:v>1346.7968084630513</c:v>
                </c:pt>
                <c:pt idx="39">
                  <c:v>1325.6980801508812</c:v>
                </c:pt>
                <c:pt idx="40">
                  <c:v>1304.7063045381192</c:v>
                </c:pt>
                <c:pt idx="41">
                  <c:v>1284.1491915546394</c:v>
                </c:pt>
                <c:pt idx="42">
                  <c:v>1263.4973490472935</c:v>
                </c:pt>
                <c:pt idx="43">
                  <c:v>1242.4606938509155</c:v>
                </c:pt>
                <c:pt idx="44">
                  <c:v>1220.9944300601505</c:v>
                </c:pt>
                <c:pt idx="45">
                  <c:v>1199.195466714363</c:v>
                </c:pt>
                <c:pt idx="46">
                  <c:v>1177.2076642874563</c:v>
                </c:pt>
                <c:pt idx="47">
                  <c:v>1155.0388319036074</c:v>
                </c:pt>
                <c:pt idx="48">
                  <c:v>1132.5854717838488</c:v>
                </c:pt>
                <c:pt idx="49">
                  <c:v>1109.7891291041774</c:v>
                </c:pt>
                <c:pt idx="50">
                  <c:v>1086.8311280656749</c:v>
                </c:pt>
                <c:pt idx="51">
                  <c:v>1063.7889384182624</c:v>
                </c:pt>
                <c:pt idx="52">
                  <c:v>1040.8789051430983</c:v>
                </c:pt>
                <c:pt idx="53">
                  <c:v>1017.8437217519023</c:v>
                </c:pt>
                <c:pt idx="54">
                  <c:v>994.77991630954443</c:v>
                </c:pt>
                <c:pt idx="55">
                  <c:v>971.80888023787998</c:v>
                </c:pt>
                <c:pt idx="56">
                  <c:v>949.03548955262227</c:v>
                </c:pt>
                <c:pt idx="57">
                  <c:v>926.55647205745674</c:v>
                </c:pt>
                <c:pt idx="58">
                  <c:v>904.36125783888269</c:v>
                </c:pt>
                <c:pt idx="59">
                  <c:v>882.51795593194993</c:v>
                </c:pt>
                <c:pt idx="60">
                  <c:v>860.999862684778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3F4-4929-8AD3-EA5A52DA8AED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1532.8581918826821</c:v>
                </c:pt>
                <c:pt idx="32">
                  <c:v>1504.0064992243281</c:v>
                </c:pt>
                <c:pt idx="33">
                  <c:v>1477.3998226745871</c:v>
                </c:pt>
                <c:pt idx="34">
                  <c:v>1453.6935129633644</c:v>
                </c:pt>
                <c:pt idx="35">
                  <c:v>1432.8378993938995</c:v>
                </c:pt>
                <c:pt idx="36">
                  <c:v>1414.5300961180217</c:v>
                </c:pt>
                <c:pt idx="37">
                  <c:v>1398.7214281344327</c:v>
                </c:pt>
                <c:pt idx="38">
                  <c:v>1385.7819034477932</c:v>
                </c:pt>
                <c:pt idx="39">
                  <c:v>1374.502306905232</c:v>
                </c:pt>
                <c:pt idx="40">
                  <c:v>1364.2453775160536</c:v>
                </c:pt>
                <c:pt idx="41">
                  <c:v>1355.3028614970808</c:v>
                </c:pt>
                <c:pt idx="42">
                  <c:v>1347.1253372823521</c:v>
                </c:pt>
                <c:pt idx="43">
                  <c:v>1339.3578031170907</c:v>
                </c:pt>
                <c:pt idx="44">
                  <c:v>1331.8237083445381</c:v>
                </c:pt>
                <c:pt idx="45">
                  <c:v>1324.4852904659108</c:v>
                </c:pt>
                <c:pt idx="46">
                  <c:v>1317.3350333755479</c:v>
                </c:pt>
                <c:pt idx="47">
                  <c:v>1310.2820339410723</c:v>
                </c:pt>
                <c:pt idx="48">
                  <c:v>1303.1574285782322</c:v>
                </c:pt>
                <c:pt idx="49">
                  <c:v>1295.8427422789994</c:v>
                </c:pt>
                <c:pt idx="50">
                  <c:v>1288.4229319450781</c:v>
                </c:pt>
                <c:pt idx="51">
                  <c:v>1280.8802704087643</c:v>
                </c:pt>
                <c:pt idx="52">
                  <c:v>1273.3506552378381</c:v>
                </c:pt>
                <c:pt idx="53">
                  <c:v>1265.5195836787725</c:v>
                </c:pt>
                <c:pt idx="54">
                  <c:v>1257.4464272439079</c:v>
                </c:pt>
                <c:pt idx="55">
                  <c:v>1249.2173097339878</c:v>
                </c:pt>
                <c:pt idx="56">
                  <c:v>1240.8989954278663</c:v>
                </c:pt>
                <c:pt idx="57">
                  <c:v>1232.5484583457223</c:v>
                </c:pt>
                <c:pt idx="58">
                  <c:v>1224.1298886776738</c:v>
                </c:pt>
                <c:pt idx="59">
                  <c:v>1215.6914310179739</c:v>
                </c:pt>
                <c:pt idx="60">
                  <c:v>1207.19277659129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3F4-4929-8AD3-EA5A52DA8AED}"/>
            </c:ext>
          </c:extLst>
        </c:ser>
        <c:ser>
          <c:idx val="4"/>
          <c:order val="3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208</c:v>
                </c:pt>
                <c:pt idx="1">
                  <c:v>1208</c:v>
                </c:pt>
                <c:pt idx="2">
                  <c:v>1208</c:v>
                </c:pt>
                <c:pt idx="3">
                  <c:v>1208</c:v>
                </c:pt>
                <c:pt idx="4">
                  <c:v>1208</c:v>
                </c:pt>
                <c:pt idx="5">
                  <c:v>1208</c:v>
                </c:pt>
                <c:pt idx="6">
                  <c:v>1208</c:v>
                </c:pt>
                <c:pt idx="7">
                  <c:v>1208</c:v>
                </c:pt>
                <c:pt idx="8">
                  <c:v>1208</c:v>
                </c:pt>
                <c:pt idx="9">
                  <c:v>1208</c:v>
                </c:pt>
                <c:pt idx="10">
                  <c:v>1208</c:v>
                </c:pt>
                <c:pt idx="11">
                  <c:v>1208</c:v>
                </c:pt>
                <c:pt idx="12">
                  <c:v>1208</c:v>
                </c:pt>
                <c:pt idx="13">
                  <c:v>1208</c:v>
                </c:pt>
                <c:pt idx="14">
                  <c:v>1208</c:v>
                </c:pt>
                <c:pt idx="15">
                  <c:v>1208</c:v>
                </c:pt>
                <c:pt idx="16">
                  <c:v>1208</c:v>
                </c:pt>
                <c:pt idx="17">
                  <c:v>1208</c:v>
                </c:pt>
                <c:pt idx="18">
                  <c:v>1208</c:v>
                </c:pt>
                <c:pt idx="19">
                  <c:v>1208</c:v>
                </c:pt>
                <c:pt idx="20">
                  <c:v>1208</c:v>
                </c:pt>
                <c:pt idx="21">
                  <c:v>1208</c:v>
                </c:pt>
                <c:pt idx="22">
                  <c:v>1208</c:v>
                </c:pt>
                <c:pt idx="23">
                  <c:v>1208</c:v>
                </c:pt>
                <c:pt idx="24">
                  <c:v>1208</c:v>
                </c:pt>
                <c:pt idx="25">
                  <c:v>1208</c:v>
                </c:pt>
                <c:pt idx="26">
                  <c:v>1208</c:v>
                </c:pt>
                <c:pt idx="27">
                  <c:v>1208</c:v>
                </c:pt>
                <c:pt idx="28">
                  <c:v>1208</c:v>
                </c:pt>
                <c:pt idx="29">
                  <c:v>1208</c:v>
                </c:pt>
                <c:pt idx="30">
                  <c:v>1208</c:v>
                </c:pt>
                <c:pt idx="31">
                  <c:v>1208</c:v>
                </c:pt>
                <c:pt idx="32">
                  <c:v>1208</c:v>
                </c:pt>
                <c:pt idx="33">
                  <c:v>1208</c:v>
                </c:pt>
                <c:pt idx="34">
                  <c:v>1208</c:v>
                </c:pt>
                <c:pt idx="35">
                  <c:v>1208</c:v>
                </c:pt>
                <c:pt idx="36">
                  <c:v>1208</c:v>
                </c:pt>
                <c:pt idx="37">
                  <c:v>1208</c:v>
                </c:pt>
                <c:pt idx="38">
                  <c:v>1208</c:v>
                </c:pt>
                <c:pt idx="39">
                  <c:v>1208</c:v>
                </c:pt>
                <c:pt idx="40">
                  <c:v>1208</c:v>
                </c:pt>
                <c:pt idx="41">
                  <c:v>1208</c:v>
                </c:pt>
                <c:pt idx="42">
                  <c:v>1208</c:v>
                </c:pt>
                <c:pt idx="43">
                  <c:v>1208</c:v>
                </c:pt>
                <c:pt idx="44">
                  <c:v>1208</c:v>
                </c:pt>
                <c:pt idx="45">
                  <c:v>1208</c:v>
                </c:pt>
                <c:pt idx="46">
                  <c:v>1208</c:v>
                </c:pt>
                <c:pt idx="47">
                  <c:v>1208</c:v>
                </c:pt>
                <c:pt idx="48">
                  <c:v>1208</c:v>
                </c:pt>
                <c:pt idx="49">
                  <c:v>1208</c:v>
                </c:pt>
                <c:pt idx="50">
                  <c:v>1208</c:v>
                </c:pt>
                <c:pt idx="51">
                  <c:v>1208</c:v>
                </c:pt>
                <c:pt idx="52">
                  <c:v>1208</c:v>
                </c:pt>
                <c:pt idx="53">
                  <c:v>1208</c:v>
                </c:pt>
                <c:pt idx="54">
                  <c:v>1208</c:v>
                </c:pt>
                <c:pt idx="55">
                  <c:v>1208</c:v>
                </c:pt>
                <c:pt idx="56">
                  <c:v>1208</c:v>
                </c:pt>
                <c:pt idx="57">
                  <c:v>1208</c:v>
                </c:pt>
                <c:pt idx="58">
                  <c:v>1208</c:v>
                </c:pt>
                <c:pt idx="59">
                  <c:v>1208</c:v>
                </c:pt>
                <c:pt idx="60">
                  <c:v>12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73F4-4929-8AD3-EA5A52DA8AE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  <c:max val="2200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2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cs-CZ" sz="2000" b="1">
                <a:solidFill>
                  <a:sysClr val="windowText" lastClr="000000"/>
                </a:solidFill>
              </a:rPr>
              <a:t>Vývoj </a:t>
            </a:r>
            <a:r>
              <a:rPr lang="cs-CZ" sz="2000" b="1" baseline="0">
                <a:solidFill>
                  <a:sysClr val="windowText" lastClr="000000"/>
                </a:solidFill>
              </a:rPr>
              <a:t>obsazenosti C+ lůžek v ČR</a:t>
            </a:r>
            <a:endParaRPr lang="cs-CZ" sz="2000" b="1">
              <a:solidFill>
                <a:sysClr val="windowText" lastClr="000000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[Obsazenost lůžek.xlsx]List1'!$D$4</c:f>
              <c:strCache>
                <c:ptCount val="1"/>
                <c:pt idx="0">
                  <c:v>Standardní lůžka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'[Obsazenost lůžek.xlsx]List1'!$C$9:$C$43</c:f>
              <c:numCache>
                <c:formatCode>m/d/yyyy</c:formatCode>
                <c:ptCount val="35"/>
                <c:pt idx="0">
                  <c:v>44274</c:v>
                </c:pt>
                <c:pt idx="1">
                  <c:v>44275</c:v>
                </c:pt>
                <c:pt idx="2">
                  <c:v>44276</c:v>
                </c:pt>
                <c:pt idx="3">
                  <c:v>44277</c:v>
                </c:pt>
                <c:pt idx="4">
                  <c:v>44278</c:v>
                </c:pt>
                <c:pt idx="5">
                  <c:v>44279</c:v>
                </c:pt>
                <c:pt idx="6">
                  <c:v>44280</c:v>
                </c:pt>
                <c:pt idx="7">
                  <c:v>44281</c:v>
                </c:pt>
                <c:pt idx="8">
                  <c:v>44282</c:v>
                </c:pt>
                <c:pt idx="9">
                  <c:v>44283</c:v>
                </c:pt>
                <c:pt idx="10">
                  <c:v>44284</c:v>
                </c:pt>
                <c:pt idx="11">
                  <c:v>44285</c:v>
                </c:pt>
                <c:pt idx="12">
                  <c:v>44286</c:v>
                </c:pt>
                <c:pt idx="13">
                  <c:v>44287</c:v>
                </c:pt>
                <c:pt idx="14">
                  <c:v>44288</c:v>
                </c:pt>
                <c:pt idx="15">
                  <c:v>44289</c:v>
                </c:pt>
                <c:pt idx="16">
                  <c:v>44290</c:v>
                </c:pt>
                <c:pt idx="17">
                  <c:v>44291</c:v>
                </c:pt>
                <c:pt idx="18">
                  <c:v>44292</c:v>
                </c:pt>
                <c:pt idx="19">
                  <c:v>44293</c:v>
                </c:pt>
                <c:pt idx="20">
                  <c:v>44294</c:v>
                </c:pt>
                <c:pt idx="21">
                  <c:v>44295</c:v>
                </c:pt>
                <c:pt idx="22">
                  <c:v>44296</c:v>
                </c:pt>
                <c:pt idx="23">
                  <c:v>44297</c:v>
                </c:pt>
                <c:pt idx="24">
                  <c:v>44298</c:v>
                </c:pt>
                <c:pt idx="25">
                  <c:v>44299</c:v>
                </c:pt>
                <c:pt idx="26">
                  <c:v>44300</c:v>
                </c:pt>
                <c:pt idx="27">
                  <c:v>44301</c:v>
                </c:pt>
                <c:pt idx="28">
                  <c:v>44302</c:v>
                </c:pt>
                <c:pt idx="29">
                  <c:v>44303</c:v>
                </c:pt>
                <c:pt idx="30">
                  <c:v>44304</c:v>
                </c:pt>
                <c:pt idx="31">
                  <c:v>44305</c:v>
                </c:pt>
                <c:pt idx="32">
                  <c:v>44306</c:v>
                </c:pt>
                <c:pt idx="33">
                  <c:v>44307</c:v>
                </c:pt>
                <c:pt idx="34">
                  <c:v>44308</c:v>
                </c:pt>
              </c:numCache>
            </c:numRef>
          </c:cat>
          <c:val>
            <c:numRef>
              <c:f>'[Obsazenost lůžek.xlsx]List1'!$D$9:$D$43</c:f>
              <c:numCache>
                <c:formatCode>#,##0</c:formatCode>
                <c:ptCount val="35"/>
                <c:pt idx="0">
                  <c:v>6936</c:v>
                </c:pt>
                <c:pt idx="1">
                  <c:v>6814</c:v>
                </c:pt>
                <c:pt idx="2">
                  <c:v>6376</c:v>
                </c:pt>
                <c:pt idx="3">
                  <c:v>6239</c:v>
                </c:pt>
                <c:pt idx="4">
                  <c:v>6746</c:v>
                </c:pt>
                <c:pt idx="5">
                  <c:v>6640</c:v>
                </c:pt>
                <c:pt idx="6">
                  <c:v>6384</c:v>
                </c:pt>
                <c:pt idx="7">
                  <c:v>6242</c:v>
                </c:pt>
                <c:pt idx="8">
                  <c:v>6215</c:v>
                </c:pt>
                <c:pt idx="9">
                  <c:v>5696</c:v>
                </c:pt>
                <c:pt idx="10" formatCode="General">
                  <c:v>5570</c:v>
                </c:pt>
                <c:pt idx="11" formatCode="General">
                  <c:v>6118</c:v>
                </c:pt>
                <c:pt idx="12" formatCode="General">
                  <c:v>5980</c:v>
                </c:pt>
                <c:pt idx="13">
                  <c:v>5751</c:v>
                </c:pt>
                <c:pt idx="14">
                  <c:v>5548</c:v>
                </c:pt>
                <c:pt idx="15">
                  <c:v>5084</c:v>
                </c:pt>
                <c:pt idx="16">
                  <c:v>4968</c:v>
                </c:pt>
                <c:pt idx="17">
                  <c:v>4475</c:v>
                </c:pt>
                <c:pt idx="18">
                  <c:v>4457</c:v>
                </c:pt>
                <c:pt idx="19">
                  <c:v>5460</c:v>
                </c:pt>
                <c:pt idx="20">
                  <c:v>5189</c:v>
                </c:pt>
                <c:pt idx="21">
                  <c:v>4832</c:v>
                </c:pt>
                <c:pt idx="22">
                  <c:v>4586</c:v>
                </c:pt>
                <c:pt idx="23">
                  <c:v>4030</c:v>
                </c:pt>
                <c:pt idx="24">
                  <c:v>3880</c:v>
                </c:pt>
                <c:pt idx="25">
                  <c:v>4182</c:v>
                </c:pt>
                <c:pt idx="26">
                  <c:v>3963</c:v>
                </c:pt>
                <c:pt idx="27">
                  <c:v>3757</c:v>
                </c:pt>
                <c:pt idx="28">
                  <c:v>3574</c:v>
                </c:pt>
                <c:pt idx="29">
                  <c:v>3379</c:v>
                </c:pt>
                <c:pt idx="30" formatCode="General">
                  <c:v>3041</c:v>
                </c:pt>
                <c:pt idx="31" formatCode="General">
                  <c:v>2951</c:v>
                </c:pt>
                <c:pt idx="32" formatCode="General">
                  <c:v>3125</c:v>
                </c:pt>
                <c:pt idx="33" formatCode="General">
                  <c:v>3120</c:v>
                </c:pt>
                <c:pt idx="34" formatCode="General">
                  <c:v>29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3ED-421C-964A-7DE2094E1E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12050880"/>
        <c:axId val="712047136"/>
      </c:lineChart>
      <c:lineChart>
        <c:grouping val="standard"/>
        <c:varyColors val="0"/>
        <c:ser>
          <c:idx val="1"/>
          <c:order val="1"/>
          <c:tx>
            <c:strRef>
              <c:f>'[Obsazenost lůžek.xlsx]List1'!$E$4</c:f>
              <c:strCache>
                <c:ptCount val="1"/>
                <c:pt idx="0">
                  <c:v>Intenzivní péče (UPV/NIV + CPAP/HFNO)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'[Obsazenost lůžek.xlsx]List1'!$C$9:$C$43</c:f>
              <c:numCache>
                <c:formatCode>m/d/yyyy</c:formatCode>
                <c:ptCount val="35"/>
                <c:pt idx="0">
                  <c:v>44274</c:v>
                </c:pt>
                <c:pt idx="1">
                  <c:v>44275</c:v>
                </c:pt>
                <c:pt idx="2">
                  <c:v>44276</c:v>
                </c:pt>
                <c:pt idx="3">
                  <c:v>44277</c:v>
                </c:pt>
                <c:pt idx="4">
                  <c:v>44278</c:v>
                </c:pt>
                <c:pt idx="5">
                  <c:v>44279</c:v>
                </c:pt>
                <c:pt idx="6">
                  <c:v>44280</c:v>
                </c:pt>
                <c:pt idx="7">
                  <c:v>44281</c:v>
                </c:pt>
                <c:pt idx="8">
                  <c:v>44282</c:v>
                </c:pt>
                <c:pt idx="9">
                  <c:v>44283</c:v>
                </c:pt>
                <c:pt idx="10">
                  <c:v>44284</c:v>
                </c:pt>
                <c:pt idx="11">
                  <c:v>44285</c:v>
                </c:pt>
                <c:pt idx="12">
                  <c:v>44286</c:v>
                </c:pt>
                <c:pt idx="13">
                  <c:v>44287</c:v>
                </c:pt>
                <c:pt idx="14">
                  <c:v>44288</c:v>
                </c:pt>
                <c:pt idx="15">
                  <c:v>44289</c:v>
                </c:pt>
                <c:pt idx="16">
                  <c:v>44290</c:v>
                </c:pt>
                <c:pt idx="17">
                  <c:v>44291</c:v>
                </c:pt>
                <c:pt idx="18">
                  <c:v>44292</c:v>
                </c:pt>
                <c:pt idx="19">
                  <c:v>44293</c:v>
                </c:pt>
                <c:pt idx="20">
                  <c:v>44294</c:v>
                </c:pt>
                <c:pt idx="21">
                  <c:v>44295</c:v>
                </c:pt>
                <c:pt idx="22">
                  <c:v>44296</c:v>
                </c:pt>
                <c:pt idx="23">
                  <c:v>44297</c:v>
                </c:pt>
                <c:pt idx="24">
                  <c:v>44298</c:v>
                </c:pt>
                <c:pt idx="25">
                  <c:v>44299</c:v>
                </c:pt>
                <c:pt idx="26">
                  <c:v>44300</c:v>
                </c:pt>
                <c:pt idx="27">
                  <c:v>44301</c:v>
                </c:pt>
                <c:pt idx="28">
                  <c:v>44302</c:v>
                </c:pt>
                <c:pt idx="29">
                  <c:v>44303</c:v>
                </c:pt>
                <c:pt idx="30">
                  <c:v>44304</c:v>
                </c:pt>
                <c:pt idx="31">
                  <c:v>44305</c:v>
                </c:pt>
                <c:pt idx="32">
                  <c:v>44306</c:v>
                </c:pt>
                <c:pt idx="33">
                  <c:v>44307</c:v>
                </c:pt>
                <c:pt idx="34">
                  <c:v>44308</c:v>
                </c:pt>
              </c:numCache>
            </c:numRef>
          </c:cat>
          <c:val>
            <c:numRef>
              <c:f>'[Obsazenost lůžek.xlsx]List1'!$E$9:$E$43</c:f>
              <c:numCache>
                <c:formatCode>#,##0</c:formatCode>
                <c:ptCount val="35"/>
                <c:pt idx="0">
                  <c:v>1837</c:v>
                </c:pt>
                <c:pt idx="1">
                  <c:v>1818</c:v>
                </c:pt>
                <c:pt idx="2">
                  <c:v>1792</c:v>
                </c:pt>
                <c:pt idx="3">
                  <c:v>1768</c:v>
                </c:pt>
                <c:pt idx="4">
                  <c:v>1799</c:v>
                </c:pt>
                <c:pt idx="5">
                  <c:v>1762</c:v>
                </c:pt>
                <c:pt idx="6">
                  <c:v>1739</c:v>
                </c:pt>
                <c:pt idx="7">
                  <c:v>1723</c:v>
                </c:pt>
                <c:pt idx="8">
                  <c:v>1682</c:v>
                </c:pt>
                <c:pt idx="9">
                  <c:v>1641</c:v>
                </c:pt>
                <c:pt idx="10">
                  <c:v>1618</c:v>
                </c:pt>
                <c:pt idx="11">
                  <c:v>1606</c:v>
                </c:pt>
                <c:pt idx="12">
                  <c:v>1600</c:v>
                </c:pt>
                <c:pt idx="13">
                  <c:v>1547</c:v>
                </c:pt>
                <c:pt idx="14">
                  <c:v>1504</c:v>
                </c:pt>
                <c:pt idx="15">
                  <c:v>1446</c:v>
                </c:pt>
                <c:pt idx="16">
                  <c:v>1416</c:v>
                </c:pt>
                <c:pt idx="17">
                  <c:v>1312</c:v>
                </c:pt>
                <c:pt idx="18">
                  <c:v>1365</c:v>
                </c:pt>
                <c:pt idx="19">
                  <c:v>1315</c:v>
                </c:pt>
                <c:pt idx="20">
                  <c:v>1315</c:v>
                </c:pt>
                <c:pt idx="21">
                  <c:v>1312</c:v>
                </c:pt>
                <c:pt idx="22">
                  <c:v>1275</c:v>
                </c:pt>
                <c:pt idx="23">
                  <c:v>1241</c:v>
                </c:pt>
                <c:pt idx="24">
                  <c:v>1190</c:v>
                </c:pt>
                <c:pt idx="25">
                  <c:v>1166</c:v>
                </c:pt>
                <c:pt idx="26">
                  <c:v>1166</c:v>
                </c:pt>
                <c:pt idx="27">
                  <c:v>1131</c:v>
                </c:pt>
                <c:pt idx="28">
                  <c:v>1077</c:v>
                </c:pt>
                <c:pt idx="29">
                  <c:v>1042</c:v>
                </c:pt>
                <c:pt idx="30">
                  <c:v>1011</c:v>
                </c:pt>
                <c:pt idx="31">
                  <c:v>962</c:v>
                </c:pt>
                <c:pt idx="32">
                  <c:v>983</c:v>
                </c:pt>
                <c:pt idx="33">
                  <c:v>943</c:v>
                </c:pt>
                <c:pt idx="34">
                  <c:v>9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3ED-421C-964A-7DE2094E1E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92083040"/>
        <c:axId val="592080960"/>
      </c:lineChart>
      <c:dateAx>
        <c:axId val="71205088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12047136"/>
        <c:crosses val="autoZero"/>
        <c:auto val="1"/>
        <c:lblOffset val="100"/>
        <c:baseTimeUnit val="days"/>
      </c:dateAx>
      <c:valAx>
        <c:axId val="712047136"/>
        <c:scaling>
          <c:orientation val="minMax"/>
          <c:min val="25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100" b="0">
                    <a:solidFill>
                      <a:sysClr val="windowText" lastClr="000000"/>
                    </a:solidFill>
                  </a:rPr>
                  <a:t>Standardní lůžka</a:t>
                </a:r>
              </a:p>
            </c:rich>
          </c:tx>
          <c:layout>
            <c:manualLayout>
              <c:xMode val="edge"/>
              <c:yMode val="edge"/>
              <c:x val="3.8641338415073595E-3"/>
              <c:y val="0.32176777861776218"/>
            </c:manualLayout>
          </c:layout>
          <c:overlay val="0"/>
          <c:spPr>
            <a:noFill/>
            <a:ln w="15875">
              <a:solidFill>
                <a:schemeClr val="accent1">
                  <a:lumMod val="75000"/>
                </a:schemeClr>
              </a:solidFill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1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12050880"/>
        <c:crosses val="autoZero"/>
        <c:crossBetween val="between"/>
      </c:valAx>
      <c:valAx>
        <c:axId val="592080960"/>
        <c:scaling>
          <c:orientation val="minMax"/>
          <c:min val="800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100" b="0">
                    <a:solidFill>
                      <a:sysClr val="windowText" lastClr="000000"/>
                    </a:solidFill>
                  </a:rPr>
                  <a:t>Intenzivní lůžka </a:t>
                </a:r>
              </a:p>
            </c:rich>
          </c:tx>
          <c:layout>
            <c:manualLayout>
              <c:xMode val="edge"/>
              <c:yMode val="edge"/>
              <c:x val="0.97101638157299319"/>
              <c:y val="0.31716722465630348"/>
            </c:manualLayout>
          </c:layout>
          <c:overlay val="0"/>
          <c:spPr>
            <a:noFill/>
            <a:ln w="15875">
              <a:solidFill>
                <a:schemeClr val="accent2"/>
              </a:solidFill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1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92083040"/>
        <c:crosses val="max"/>
        <c:crossBetween val="between"/>
      </c:valAx>
      <c:dateAx>
        <c:axId val="592083040"/>
        <c:scaling>
          <c:orientation val="minMax"/>
        </c:scaling>
        <c:delete val="1"/>
        <c:axPos val="b"/>
        <c:numFmt formatCode="m/d/yyyy" sourceLinked="1"/>
        <c:majorTickMark val="out"/>
        <c:minorTickMark val="none"/>
        <c:tickLblPos val="nextTo"/>
        <c:crossAx val="592080960"/>
        <c:crosses val="autoZero"/>
        <c:auto val="1"/>
        <c:lblOffset val="100"/>
        <c:baseTimeUnit val="days"/>
      </c:date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1" i="0" u="none" strike="noStrike" kern="120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  <c:userShapes r:id="rId4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2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G$2:$G$107</c:f>
              <c:numCache>
                <c:formatCode>General</c:formatCode>
                <c:ptCount val="106"/>
                <c:pt idx="0">
                  <c:v>6312</c:v>
                </c:pt>
                <c:pt idx="1">
                  <c:v>6344</c:v>
                </c:pt>
                <c:pt idx="2">
                  <c:v>6428</c:v>
                </c:pt>
                <c:pt idx="3">
                  <c:v>6525</c:v>
                </c:pt>
                <c:pt idx="4">
                  <c:v>6544</c:v>
                </c:pt>
                <c:pt idx="5">
                  <c:v>6145</c:v>
                </c:pt>
                <c:pt idx="6">
                  <c:v>6352</c:v>
                </c:pt>
                <c:pt idx="7">
                  <c:v>7048</c:v>
                </c:pt>
                <c:pt idx="8">
                  <c:v>7079</c:v>
                </c:pt>
                <c:pt idx="9">
                  <c:v>7171</c:v>
                </c:pt>
                <c:pt idx="10">
                  <c:v>7385</c:v>
                </c:pt>
                <c:pt idx="11">
                  <c:v>7482</c:v>
                </c:pt>
                <c:pt idx="12">
                  <c:v>7187</c:v>
                </c:pt>
                <c:pt idx="13">
                  <c:v>7451</c:v>
                </c:pt>
                <c:pt idx="14">
                  <c:v>8257</c:v>
                </c:pt>
                <c:pt idx="15">
                  <c:v>8439</c:v>
                </c:pt>
                <c:pt idx="16">
                  <c:v>8384</c:v>
                </c:pt>
                <c:pt idx="17">
                  <c:v>8389</c:v>
                </c:pt>
                <c:pt idx="18">
                  <c:v>8453</c:v>
                </c:pt>
                <c:pt idx="19">
                  <c:v>8109</c:v>
                </c:pt>
                <c:pt idx="20">
                  <c:v>8333</c:v>
                </c:pt>
                <c:pt idx="21">
                  <c:v>9008</c:v>
                </c:pt>
                <c:pt idx="22">
                  <c:v>8983</c:v>
                </c:pt>
                <c:pt idx="23">
                  <c:v>9004</c:v>
                </c:pt>
                <c:pt idx="24">
                  <c:v>8966</c:v>
                </c:pt>
                <c:pt idx="25">
                  <c:v>8934</c:v>
                </c:pt>
                <c:pt idx="26">
                  <c:v>8533</c:v>
                </c:pt>
                <c:pt idx="27">
                  <c:v>8747</c:v>
                </c:pt>
                <c:pt idx="28">
                  <c:v>9463</c:v>
                </c:pt>
                <c:pt idx="29">
                  <c:v>9331</c:v>
                </c:pt>
                <c:pt idx="30">
                  <c:v>9162</c:v>
                </c:pt>
                <c:pt idx="31">
                  <c:v>8958</c:v>
                </c:pt>
                <c:pt idx="32">
                  <c:v>8768</c:v>
                </c:pt>
                <c:pt idx="33">
                  <c:v>8209</c:v>
                </c:pt>
                <c:pt idx="34">
                  <c:v>8323</c:v>
                </c:pt>
                <c:pt idx="35">
                  <c:v>8959</c:v>
                </c:pt>
                <c:pt idx="36">
                  <c:v>8627</c:v>
                </c:pt>
                <c:pt idx="37">
                  <c:v>8311</c:v>
                </c:pt>
                <c:pt idx="38">
                  <c:v>8156</c:v>
                </c:pt>
                <c:pt idx="39">
                  <c:v>8032</c:v>
                </c:pt>
                <c:pt idx="40">
                  <c:v>7510</c:v>
                </c:pt>
                <c:pt idx="41">
                  <c:v>7560</c:v>
                </c:pt>
                <c:pt idx="42">
                  <c:v>8099</c:v>
                </c:pt>
                <c:pt idx="43">
                  <c:v>7831</c:v>
                </c:pt>
                <c:pt idx="44">
                  <c:v>7511</c:v>
                </c:pt>
                <c:pt idx="45">
                  <c:v>7207</c:v>
                </c:pt>
                <c:pt idx="46">
                  <c:v>6381</c:v>
                </c:pt>
                <c:pt idx="47">
                  <c:v>6230</c:v>
                </c:pt>
                <c:pt idx="48">
                  <c:v>6327</c:v>
                </c:pt>
                <c:pt idx="49">
                  <c:v>6399</c:v>
                </c:pt>
                <c:pt idx="50">
                  <c:v>7078</c:v>
                </c:pt>
                <c:pt idx="51">
                  <c:v>6722</c:v>
                </c:pt>
                <c:pt idx="52">
                  <c:v>6249</c:v>
                </c:pt>
                <c:pt idx="53">
                  <c:v>5934</c:v>
                </c:pt>
                <c:pt idx="54">
                  <c:v>5296</c:v>
                </c:pt>
                <c:pt idx="55">
                  <c:v>5251</c:v>
                </c:pt>
                <c:pt idx="56">
                  <c:v>5547</c:v>
                </c:pt>
                <c:pt idx="57">
                  <c:v>5240</c:v>
                </c:pt>
                <c:pt idx="58">
                  <c:v>4945</c:v>
                </c:pt>
                <c:pt idx="59">
                  <c:v>4685</c:v>
                </c:pt>
                <c:pt idx="60">
                  <c:v>4443</c:v>
                </c:pt>
                <c:pt idx="61">
                  <c:v>4038</c:v>
                </c:pt>
                <c:pt idx="62">
                  <c:v>4053</c:v>
                </c:pt>
                <c:pt idx="63">
                  <c:v>4330</c:v>
                </c:pt>
                <c:pt idx="64">
                  <c:v>4151</c:v>
                </c:pt>
                <c:pt idx="65">
                  <c:v>3965</c:v>
                </c:pt>
                <c:pt idx="66">
                  <c:v>3695</c:v>
                </c:pt>
                <c:pt idx="67">
                  <c:v>3468</c:v>
                </c:pt>
                <c:pt idx="68">
                  <c:v>31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EDB9-4256-AE28-72A2561918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3"/>
          <c:order val="0"/>
          <c:tx>
            <c:strRef>
              <c:f>Sheet1!$E$1</c:f>
              <c:strCache>
                <c:ptCount val="1"/>
                <c:pt idx="0">
                  <c:v>I</c:v>
                </c:pt>
              </c:strCache>
            </c:strRef>
          </c:tx>
          <c:spPr>
            <a:ln w="28575" cap="rnd">
              <a:solidFill>
                <a:srgbClr val="305983"/>
              </a:solidFill>
              <a:round/>
            </a:ln>
            <a:effectLst/>
          </c:spPr>
          <c:marker>
            <c:symbol val="none"/>
          </c:marker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E$2:$E$107</c:f>
              <c:numCache>
                <c:formatCode>General</c:formatCode>
                <c:ptCount val="106"/>
                <c:pt idx="10">
                  <c:v>7445.066791190713</c:v>
                </c:pt>
                <c:pt idx="11">
                  <c:v>7683.2928553793045</c:v>
                </c:pt>
                <c:pt idx="12">
                  <c:v>7931.5522738014424</c:v>
                </c:pt>
                <c:pt idx="13">
                  <c:v>8193.7949368262744</c:v>
                </c:pt>
                <c:pt idx="14">
                  <c:v>8467.6154283889045</c:v>
                </c:pt>
                <c:pt idx="15">
                  <c:v>8746.9129729918423</c:v>
                </c:pt>
                <c:pt idx="16">
                  <c:v>9030.6924666136729</c:v>
                </c:pt>
                <c:pt idx="17">
                  <c:v>9312.207074760252</c:v>
                </c:pt>
                <c:pt idx="18">
                  <c:v>9583.9306255261563</c:v>
                </c:pt>
                <c:pt idx="19">
                  <c:v>9845.5837729842024</c:v>
                </c:pt>
                <c:pt idx="20">
                  <c:v>10096.80791915163</c:v>
                </c:pt>
                <c:pt idx="21">
                  <c:v>10332.908535706847</c:v>
                </c:pt>
                <c:pt idx="22">
                  <c:v>10551.54357173382</c:v>
                </c:pt>
                <c:pt idx="23">
                  <c:v>10753.324292726917</c:v>
                </c:pt>
                <c:pt idx="24">
                  <c:v>10939.470832409774</c:v>
                </c:pt>
                <c:pt idx="25">
                  <c:v>11111.022332431477</c:v>
                </c:pt>
                <c:pt idx="26">
                  <c:v>11268.035623801787</c:v>
                </c:pt>
                <c:pt idx="27">
                  <c:v>11410.023991359425</c:v>
                </c:pt>
                <c:pt idx="28">
                  <c:v>11535.848047877857</c:v>
                </c:pt>
                <c:pt idx="29">
                  <c:v>11646.134845904917</c:v>
                </c:pt>
                <c:pt idx="30">
                  <c:v>11741.990785426487</c:v>
                </c:pt>
                <c:pt idx="31">
                  <c:v>11824.137387865227</c:v>
                </c:pt>
                <c:pt idx="32">
                  <c:v>11892.903856462735</c:v>
                </c:pt>
                <c:pt idx="33">
                  <c:v>11949.038223513196</c:v>
                </c:pt>
                <c:pt idx="34">
                  <c:v>11993.513046453769</c:v>
                </c:pt>
                <c:pt idx="35">
                  <c:v>12026.545344259961</c:v>
                </c:pt>
                <c:pt idx="36">
                  <c:v>12048.786111627651</c:v>
                </c:pt>
                <c:pt idx="37">
                  <c:v>12060.767000124291</c:v>
                </c:pt>
                <c:pt idx="38">
                  <c:v>12062.798496133062</c:v>
                </c:pt>
                <c:pt idx="39">
                  <c:v>12055.535444133184</c:v>
                </c:pt>
                <c:pt idx="40">
                  <c:v>12039.643255398167</c:v>
                </c:pt>
                <c:pt idx="41">
                  <c:v>12015.434765807086</c:v>
                </c:pt>
                <c:pt idx="42">
                  <c:v>11983.210036903323</c:v>
                </c:pt>
                <c:pt idx="43">
                  <c:v>11943.436237119218</c:v>
                </c:pt>
                <c:pt idx="44">
                  <c:v>11896.419543106575</c:v>
                </c:pt>
                <c:pt idx="45">
                  <c:v>11842.474374672202</c:v>
                </c:pt>
                <c:pt idx="46">
                  <c:v>11782.039236755074</c:v>
                </c:pt>
                <c:pt idx="47">
                  <c:v>11715.367034225173</c:v>
                </c:pt>
                <c:pt idx="48">
                  <c:v>11645.748511456459</c:v>
                </c:pt>
                <c:pt idx="49">
                  <c:v>11573.47758162267</c:v>
                </c:pt>
                <c:pt idx="50">
                  <c:v>11498.729365897672</c:v>
                </c:pt>
                <c:pt idx="51">
                  <c:v>11421.742063989221</c:v>
                </c:pt>
                <c:pt idx="52">
                  <c:v>11342.74740514414</c:v>
                </c:pt>
                <c:pt idx="53">
                  <c:v>11261.965803587391</c:v>
                </c:pt>
                <c:pt idx="54">
                  <c:v>11179.629506415027</c:v>
                </c:pt>
                <c:pt idx="55">
                  <c:v>11095.935020422321</c:v>
                </c:pt>
                <c:pt idx="56">
                  <c:v>11011.042721272161</c:v>
                </c:pt>
                <c:pt idx="57">
                  <c:v>10925.073076528879</c:v>
                </c:pt>
                <c:pt idx="58">
                  <c:v>10838.140631910339</c:v>
                </c:pt>
                <c:pt idx="59">
                  <c:v>10750.370820727008</c:v>
                </c:pt>
                <c:pt idx="60">
                  <c:v>10661.915980781467</c:v>
                </c:pt>
                <c:pt idx="61">
                  <c:v>10572.948099720816</c:v>
                </c:pt>
                <c:pt idx="62">
                  <c:v>10483.546465504322</c:v>
                </c:pt>
                <c:pt idx="63">
                  <c:v>10393.803916192661</c:v>
                </c:pt>
                <c:pt idx="64">
                  <c:v>10303.861567112373</c:v>
                </c:pt>
                <c:pt idx="65">
                  <c:v>10213.785773217924</c:v>
                </c:pt>
                <c:pt idx="66">
                  <c:v>10123.625223850049</c:v>
                </c:pt>
                <c:pt idx="67">
                  <c:v>10033.475369768119</c:v>
                </c:pt>
                <c:pt idx="68">
                  <c:v>9943.4358721046829</c:v>
                </c:pt>
                <c:pt idx="69">
                  <c:v>9853.5644851223551</c:v>
                </c:pt>
                <c:pt idx="70">
                  <c:v>9763.924041946213</c:v>
                </c:pt>
                <c:pt idx="71">
                  <c:v>9674.5816313164014</c:v>
                </c:pt>
                <c:pt idx="72">
                  <c:v>9585.5927684612634</c:v>
                </c:pt>
                <c:pt idx="73">
                  <c:v>9497.0081325328683</c:v>
                </c:pt>
                <c:pt idx="74">
                  <c:v>9408.8747644341802</c:v>
                </c:pt>
                <c:pt idx="75">
                  <c:v>9321.2360251680821</c:v>
                </c:pt>
                <c:pt idx="76">
                  <c:v>9234.1310423892191</c:v>
                </c:pt>
                <c:pt idx="77">
                  <c:v>9147.5951740168621</c:v>
                </c:pt>
                <c:pt idx="78">
                  <c:v>9061.6601727252837</c:v>
                </c:pt>
                <c:pt idx="79">
                  <c:v>8976.3539946234887</c:v>
                </c:pt>
                <c:pt idx="80">
                  <c:v>8891.7012609393714</c:v>
                </c:pt>
                <c:pt idx="81">
                  <c:v>8807.7235049582796</c:v>
                </c:pt>
                <c:pt idx="82">
                  <c:v>8724.4392160395055</c:v>
                </c:pt>
                <c:pt idx="83">
                  <c:v>8641.8640347407345</c:v>
                </c:pt>
                <c:pt idx="84">
                  <c:v>8560.010968599101</c:v>
                </c:pt>
                <c:pt idx="85">
                  <c:v>8478.8904825950194</c:v>
                </c:pt>
                <c:pt idx="86">
                  <c:v>8398.5105415763755</c:v>
                </c:pt>
                <c:pt idx="87">
                  <c:v>8318.8768307740993</c:v>
                </c:pt>
                <c:pt idx="88">
                  <c:v>8239.9929527778277</c:v>
                </c:pt>
                <c:pt idx="89">
                  <c:v>8161.8605799738843</c:v>
                </c:pt>
                <c:pt idx="90">
                  <c:v>8084.4795617019545</c:v>
                </c:pt>
                <c:pt idx="91">
                  <c:v>8007.848022648931</c:v>
                </c:pt>
                <c:pt idx="92">
                  <c:v>7931.9625298930623</c:v>
                </c:pt>
                <c:pt idx="93">
                  <c:v>7856.8182107687398</c:v>
                </c:pt>
                <c:pt idx="94">
                  <c:v>7782.4088560768396</c:v>
                </c:pt>
                <c:pt idx="95">
                  <c:v>7708.7270511846255</c:v>
                </c:pt>
                <c:pt idx="96">
                  <c:v>7635.7643094445884</c:v>
                </c:pt>
                <c:pt idx="97">
                  <c:v>7563.5111953383912</c:v>
                </c:pt>
                <c:pt idx="98">
                  <c:v>7491.9574223839272</c:v>
                </c:pt>
                <c:pt idx="99">
                  <c:v>7421.0919403833304</c:v>
                </c:pt>
                <c:pt idx="100">
                  <c:v>7350.9030437987631</c:v>
                </c:pt>
                <c:pt idx="101">
                  <c:v>7281.3784763318054</c:v>
                </c:pt>
                <c:pt idx="102">
                  <c:v>7212.5055189606192</c:v>
                </c:pt>
                <c:pt idx="103">
                  <c:v>7144.2710778890605</c:v>
                </c:pt>
                <c:pt idx="104">
                  <c:v>7076.6617677339982</c:v>
                </c:pt>
                <c:pt idx="105">
                  <c:v>7009.6639900544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D4B-49C3-A552-FC8CD36DEB4C}"/>
            </c:ext>
          </c:extLst>
        </c:ser>
        <c:ser>
          <c:idx val="4"/>
          <c:order val="1"/>
          <c:tx>
            <c:strRef>
              <c:f>Sheet1!$F$1</c:f>
              <c:strCache>
                <c:ptCount val="1"/>
                <c:pt idx="0">
                  <c:v>II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F$2:$F$107</c:f>
              <c:numCache>
                <c:formatCode>General</c:formatCode>
                <c:ptCount val="106"/>
                <c:pt idx="10">
                  <c:v>7445.066791190713</c:v>
                </c:pt>
                <c:pt idx="11">
                  <c:v>7683.2928553793045</c:v>
                </c:pt>
                <c:pt idx="12">
                  <c:v>7927.5036554373874</c:v>
                </c:pt>
                <c:pt idx="13">
                  <c:v>8178.8407071724523</c:v>
                </c:pt>
                <c:pt idx="14">
                  <c:v>8433.2297068548633</c:v>
                </c:pt>
                <c:pt idx="15">
                  <c:v>8683.4860314971902</c:v>
                </c:pt>
                <c:pt idx="16">
                  <c:v>8927.8341552411457</c:v>
                </c:pt>
                <c:pt idx="17">
                  <c:v>9158.9015366558306</c:v>
                </c:pt>
                <c:pt idx="18">
                  <c:v>9368.663691722064</c:v>
                </c:pt>
                <c:pt idx="19">
                  <c:v>9556.5085497429736</c:v>
                </c:pt>
                <c:pt idx="20">
                  <c:v>9721.9991608728033</c:v>
                </c:pt>
                <c:pt idx="21">
                  <c:v>9860.604538894615</c:v>
                </c:pt>
                <c:pt idx="22">
                  <c:v>9970.409506576616</c:v>
                </c:pt>
                <c:pt idx="23">
                  <c:v>10052.722249482642</c:v>
                </c:pt>
                <c:pt idx="24">
                  <c:v>10109.642928074862</c:v>
                </c:pt>
                <c:pt idx="25">
                  <c:v>10143.178943764886</c:v>
                </c:pt>
                <c:pt idx="26">
                  <c:v>10154.409892875401</c:v>
                </c:pt>
                <c:pt idx="27">
                  <c:v>10143.913370193412</c:v>
                </c:pt>
                <c:pt idx="28">
                  <c:v>10111.628752794104</c:v>
                </c:pt>
                <c:pt idx="29">
                  <c:v>10059.250531358719</c:v>
                </c:pt>
                <c:pt idx="30">
                  <c:v>9988.9190624145431</c:v>
                </c:pt>
                <c:pt idx="31">
                  <c:v>9902.3514265336453</c:v>
                </c:pt>
                <c:pt idx="32">
                  <c:v>9800.8373788582285</c:v>
                </c:pt>
                <c:pt idx="33">
                  <c:v>9686.0556333873883</c:v>
                </c:pt>
                <c:pt idx="34">
                  <c:v>9559.8669000297923</c:v>
                </c:pt>
                <c:pt idx="35">
                  <c:v>9423.3101085894687</c:v>
                </c:pt>
                <c:pt idx="36">
                  <c:v>9277.7862144212249</c:v>
                </c:pt>
                <c:pt idx="37">
                  <c:v>9124.5093254181265</c:v>
                </c:pt>
                <c:pt idx="38">
                  <c:v>8964.4131323599649</c:v>
                </c:pt>
                <c:pt idx="39">
                  <c:v>8798.7147582139787</c:v>
                </c:pt>
                <c:pt idx="40">
                  <c:v>8628.5864473178681</c:v>
                </c:pt>
                <c:pt idx="41">
                  <c:v>8454.7940666114318</c:v>
                </c:pt>
                <c:pt idx="42">
                  <c:v>8278.0384528384766</c:v>
                </c:pt>
                <c:pt idx="43">
                  <c:v>8099.1398565369373</c:v>
                </c:pt>
                <c:pt idx="44">
                  <c:v>7918.7090367630908</c:v>
                </c:pt>
                <c:pt idx="45">
                  <c:v>7737.3188344419905</c:v>
                </c:pt>
                <c:pt idx="46">
                  <c:v>7555.6237625192007</c:v>
                </c:pt>
                <c:pt idx="47">
                  <c:v>7374.0544184679966</c:v>
                </c:pt>
                <c:pt idx="48">
                  <c:v>7194.8907245393248</c:v>
                </c:pt>
                <c:pt idx="49">
                  <c:v>7018.4283971524101</c:v>
                </c:pt>
                <c:pt idx="50">
                  <c:v>6844.8206277902764</c:v>
                </c:pt>
                <c:pt idx="51">
                  <c:v>6674.2623915119702</c:v>
                </c:pt>
                <c:pt idx="52">
                  <c:v>6506.9242344970125</c:v>
                </c:pt>
                <c:pt idx="53">
                  <c:v>6342.9497603710461</c:v>
                </c:pt>
                <c:pt idx="54">
                  <c:v>6182.4807127655695</c:v>
                </c:pt>
                <c:pt idx="55">
                  <c:v>6025.6116742315899</c:v>
                </c:pt>
                <c:pt idx="56">
                  <c:v>5872.3909531744248</c:v>
                </c:pt>
                <c:pt idx="57">
                  <c:v>5722.818215296119</c:v>
                </c:pt>
                <c:pt idx="58">
                  <c:v>5576.880127703751</c:v>
                </c:pt>
                <c:pt idx="59">
                  <c:v>5434.5685766589741</c:v>
                </c:pt>
                <c:pt idx="60">
                  <c:v>5295.8979267290197</c:v>
                </c:pt>
                <c:pt idx="61">
                  <c:v>5160.8988644035244</c:v>
                </c:pt>
                <c:pt idx="62">
                  <c:v>5029.507415074765</c:v>
                </c:pt>
                <c:pt idx="63">
                  <c:v>4901.6722166798763</c:v>
                </c:pt>
                <c:pt idx="64">
                  <c:v>4777.3897357680271</c:v>
                </c:pt>
                <c:pt idx="65">
                  <c:v>4656.5814728264013</c:v>
                </c:pt>
                <c:pt idx="66">
                  <c:v>4539.1515768147619</c:v>
                </c:pt>
                <c:pt idx="67">
                  <c:v>4425.0521293648935</c:v>
                </c:pt>
                <c:pt idx="68">
                  <c:v>4314.2415428973018</c:v>
                </c:pt>
                <c:pt idx="69">
                  <c:v>4206.6384886395517</c:v>
                </c:pt>
                <c:pt idx="70">
                  <c:v>4102.169410650371</c:v>
                </c:pt>
                <c:pt idx="71">
                  <c:v>4000.7681398717559</c:v>
                </c:pt>
                <c:pt idx="72">
                  <c:v>3902.3602346390849</c:v>
                </c:pt>
                <c:pt idx="73">
                  <c:v>3806.8695634724681</c:v>
                </c:pt>
                <c:pt idx="74">
                  <c:v>3714.2197987895802</c:v>
                </c:pt>
                <c:pt idx="75">
                  <c:v>3624.3346292297729</c:v>
                </c:pt>
                <c:pt idx="76">
                  <c:v>3537.1373657322065</c:v>
                </c:pt>
                <c:pt idx="77">
                  <c:v>3452.5515163372265</c:v>
                </c:pt>
                <c:pt idx="78">
                  <c:v>3370.5010180504528</c:v>
                </c:pt>
                <c:pt idx="79">
                  <c:v>3290.9100809288525</c:v>
                </c:pt>
                <c:pt idx="80">
                  <c:v>3213.7036620639938</c:v>
                </c:pt>
                <c:pt idx="81">
                  <c:v>3138.8077139150005</c:v>
                </c:pt>
                <c:pt idx="82">
                  <c:v>3066.149209609529</c:v>
                </c:pt>
                <c:pt idx="83">
                  <c:v>2995.6563044153677</c:v>
                </c:pt>
                <c:pt idx="84">
                  <c:v>2927.2585040506242</c:v>
                </c:pt>
                <c:pt idx="85">
                  <c:v>2860.8866912581957</c:v>
                </c:pt>
                <c:pt idx="86">
                  <c:v>2796.4730925708832</c:v>
                </c:pt>
                <c:pt idx="87">
                  <c:v>2733.9514118582142</c:v>
                </c:pt>
                <c:pt idx="88">
                  <c:v>2673.2569309225064</c:v>
                </c:pt>
                <c:pt idx="89">
                  <c:v>2614.3265568015354</c:v>
                </c:pt>
                <c:pt idx="90">
                  <c:v>2557.0988177556069</c:v>
                </c:pt>
                <c:pt idx="91">
                  <c:v>2501.513845808237</c:v>
                </c:pt>
                <c:pt idx="92">
                  <c:v>2447.5134224730709</c:v>
                </c:pt>
                <c:pt idx="93">
                  <c:v>2395.0409723346834</c:v>
                </c:pt>
                <c:pt idx="94">
                  <c:v>2344.0415388401793</c:v>
                </c:pt>
                <c:pt idx="95">
                  <c:v>2294.4617873935317</c:v>
                </c:pt>
                <c:pt idx="96">
                  <c:v>2246.2500101165147</c:v>
                </c:pt>
                <c:pt idx="97">
                  <c:v>2199.356119954693</c:v>
                </c:pt>
                <c:pt idx="98">
                  <c:v>2153.7316205690654</c:v>
                </c:pt>
                <c:pt idx="99">
                  <c:v>2109.3295667916805</c:v>
                </c:pt>
                <c:pt idx="100">
                  <c:v>2066.1045478985202</c:v>
                </c:pt>
                <c:pt idx="101">
                  <c:v>2024.0126691892413</c:v>
                </c:pt>
                <c:pt idx="102">
                  <c:v>1983.0115196377828</c:v>
                </c:pt>
                <c:pt idx="103">
                  <c:v>1943.060142473583</c:v>
                </c:pt>
                <c:pt idx="104">
                  <c:v>1904.1190045077831</c:v>
                </c:pt>
                <c:pt idx="105">
                  <c:v>1866.1499642809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EDB9-4256-AE28-72A2561918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</c:date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20000242690338468"/>
          <c:y val="4.6874997116449491E-2"/>
          <c:w val="0.63135654138833119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81706</cdr:x>
      <cdr:y>0.9369</cdr:y>
    </cdr:from>
    <cdr:to>
      <cdr:x>1</cdr:x>
      <cdr:y>0.98088</cdr:y>
    </cdr:to>
    <cdr:sp macro="" textlink="">
      <cdr:nvSpPr>
        <cdr:cNvPr id="2" name="TextovéPole 1"/>
        <cdr:cNvSpPr txBox="1"/>
      </cdr:nvSpPr>
      <cdr:spPr>
        <a:xfrm xmlns:a="http://schemas.openxmlformats.org/drawingml/2006/main">
          <a:off x="6296025" y="4667249"/>
          <a:ext cx="1409700" cy="21907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 anchor="ctr"/>
        <a:lstStyle xmlns:a="http://schemas.openxmlformats.org/drawingml/2006/main"/>
        <a:p xmlns:a="http://schemas.openxmlformats.org/drawingml/2006/main">
          <a:pPr algn="ctr"/>
          <a:r>
            <a:rPr lang="cs-CZ" sz="1200" b="1">
              <a:latin typeface="+mn-lt"/>
            </a:rPr>
            <a:t>Zdroj: ÚZIS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25.04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837644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2518816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3584CE-9EBC-AD46-8819-745BF0C92CFB}" type="slidenum">
              <a:rPr kumimoji="0" lang="en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5344614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735276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4.svg"/><Relationship Id="rId5" Type="http://schemas.openxmlformats.org/officeDocument/2006/relationships/image" Target="../media/image11.png"/><Relationship Id="rId4" Type="http://schemas.openxmlformats.org/officeDocument/2006/relationships/image" Target="../media/image7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4.png"/><Relationship Id="rId5" Type="http://schemas.openxmlformats.org/officeDocument/2006/relationships/image" Target="../media/image4.svg"/><Relationship Id="rId4" Type="http://schemas.openxmlformats.org/officeDocument/2006/relationships/image" Target="../media/image13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4.png"/><Relationship Id="rId5" Type="http://schemas.openxmlformats.org/officeDocument/2006/relationships/image" Target="../media/image4.svg"/><Relationship Id="rId4" Type="http://schemas.openxmlformats.org/officeDocument/2006/relationships/image" Target="../media/image13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4.png"/><Relationship Id="rId5" Type="http://schemas.openxmlformats.org/officeDocument/2006/relationships/image" Target="../media/image4.svg"/><Relationship Id="rId4" Type="http://schemas.openxmlformats.org/officeDocument/2006/relationships/image" Target="../media/image13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7.sv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4.png"/><Relationship Id="rId5" Type="http://schemas.openxmlformats.org/officeDocument/2006/relationships/image" Target="../media/image4.svg"/><Relationship Id="rId4" Type="http://schemas.openxmlformats.org/officeDocument/2006/relationships/image" Target="../media/image13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4.svg"/><Relationship Id="rId5" Type="http://schemas.openxmlformats.org/officeDocument/2006/relationships/image" Target="../media/image11.png"/><Relationship Id="rId4" Type="http://schemas.openxmlformats.org/officeDocument/2006/relationships/image" Target="../media/image7.sv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24.svg"/><Relationship Id="rId5" Type="http://schemas.openxmlformats.org/officeDocument/2006/relationships/image" Target="../media/image20.png"/><Relationship Id="rId4" Type="http://schemas.openxmlformats.org/officeDocument/2006/relationships/image" Target="../media/image4.sv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4.svg"/><Relationship Id="rId5" Type="http://schemas.openxmlformats.org/officeDocument/2006/relationships/image" Target="../media/image23.png"/><Relationship Id="rId4" Type="http://schemas.openxmlformats.org/officeDocument/2006/relationships/image" Target="../media/image24.sv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4.svg"/><Relationship Id="rId5" Type="http://schemas.openxmlformats.org/officeDocument/2006/relationships/image" Target="../media/image23.png"/><Relationship Id="rId4" Type="http://schemas.openxmlformats.org/officeDocument/2006/relationships/image" Target="../media/image24.sv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24.svg"/><Relationship Id="rId5" Type="http://schemas.openxmlformats.org/officeDocument/2006/relationships/image" Target="../media/image20.png"/><Relationship Id="rId4" Type="http://schemas.openxmlformats.org/officeDocument/2006/relationships/image" Target="../media/image4.sv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24.svg"/><Relationship Id="rId5" Type="http://schemas.openxmlformats.org/officeDocument/2006/relationships/image" Target="../media/image20.png"/><Relationship Id="rId4" Type="http://schemas.openxmlformats.org/officeDocument/2006/relationships/image" Target="../media/image4.sv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Relationship Id="rId6" Type="http://schemas.openxmlformats.org/officeDocument/2006/relationships/image" Target="NULL"/><Relationship Id="rId5" Type="http://schemas.openxmlformats.org/officeDocument/2006/relationships/image" Target="../media/image11.png"/><Relationship Id="rId4" Type="http://schemas.openxmlformats.org/officeDocument/2006/relationships/image" Target="NUL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14.png"/><Relationship Id="rId5" Type="http://schemas.openxmlformats.org/officeDocument/2006/relationships/image" Target="NULL"/><Relationship Id="rId4" Type="http://schemas.openxmlformats.org/officeDocument/2006/relationships/image" Target="../media/image13.pn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14.png"/><Relationship Id="rId5" Type="http://schemas.openxmlformats.org/officeDocument/2006/relationships/image" Target="NULL"/><Relationship Id="rId4" Type="http://schemas.openxmlformats.org/officeDocument/2006/relationships/image" Target="../media/image13.pn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14.png"/><Relationship Id="rId5" Type="http://schemas.openxmlformats.org/officeDocument/2006/relationships/image" Target="NULL"/><Relationship Id="rId4" Type="http://schemas.openxmlformats.org/officeDocument/2006/relationships/image" Target="../media/image13.pn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Relationship Id="rId6" Type="http://schemas.openxmlformats.org/officeDocument/2006/relationships/image" Target="NUL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14.png"/><Relationship Id="rId5" Type="http://schemas.openxmlformats.org/officeDocument/2006/relationships/image" Target="NULL"/><Relationship Id="rId4" Type="http://schemas.openxmlformats.org/officeDocument/2006/relationships/image" Target="../media/image13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Relationship Id="rId6" Type="http://schemas.openxmlformats.org/officeDocument/2006/relationships/image" Target="NULL"/><Relationship Id="rId5" Type="http://schemas.openxmlformats.org/officeDocument/2006/relationships/image" Target="../media/image11.png"/><Relationship Id="rId4" Type="http://schemas.openxmlformats.org/officeDocument/2006/relationships/image" Target="NUL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8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8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8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40.sv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2.svg"/><Relationship Id="rId5" Type="http://schemas.openxmlformats.org/officeDocument/2006/relationships/image" Target="../media/image9.png"/><Relationship Id="rId4" Type="http://schemas.openxmlformats.org/officeDocument/2006/relationships/image" Target="../media/image5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14096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912233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47006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40881722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3975980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335075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1249206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752988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171740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6C5CD43-27A1-41A8-A512-01DFDF72EFF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29D6EDE5-5820-4DC6-94DA-D95C794B264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B008B432-85BC-418F-A57C-253AFAA7F4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25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5B0D9402-2D8E-4FB9-8161-8D00119F8B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C2AECA71-E82F-4649-8A24-6636AFE633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3284222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FDB54BB-D77B-411B-80A8-BB36F39E05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7774C4F0-4F0B-4C37-9EFE-6D33C4980C2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72754D4C-9569-4644-BD5E-3F00E03CFF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25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5D88293E-073F-4829-9267-A51A7ABC07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8175F46-C8C3-4B73-9A7E-9E6AFB3934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155982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12250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D5204B5-DA6E-4CCF-8869-93A5915958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ACCA1BCD-781F-4E2C-83B5-1BD52A9D9F6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FDA201BD-C892-4BFD-9C7E-602DA30042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25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462DFC0C-31CE-4594-AE22-75ACF98622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C579E36E-5C1B-499E-A0E1-47EA5D2AAD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7498576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D4636ED-3604-40BB-81B1-33BFF70749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43DE2A32-280E-430F-89F0-02DD4ED6DEE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D60A0DD2-E959-4E7C-B84C-848CB1BAD25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079809F5-B5D9-4823-98A8-869F2ACF03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25.04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FD9EA721-150E-4EB0-9ECF-FDE2E20F1E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488906D8-2AB6-402F-81B1-8E63583A18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7223781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CC5F3F2-E4F6-44D2-BC8D-3748A0189B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CF487FE8-E5BA-4A5C-B0AF-5F8A194F391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6E29BA68-3FF4-469C-9253-26B2C5CECA8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88A24C8C-7565-4369-B063-AC35EDADBA2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A20FD93C-8945-45CC-8CDF-34EBF532A25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CB778519-F60E-4E11-9FF6-BD84A35462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25.04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F5C35377-4A42-4DE0-A17A-C3340CADB7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2C2D2A8A-CA4B-4E54-9860-5C67E34E72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8076896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B55641E-5C1C-4BE3-B0F0-314BD78DF0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29F0F57D-01A1-43E4-98AA-935B2DB6E6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25.04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BC1C920E-6E2D-4E35-A596-F02A9BE087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CA80E791-6BEA-40B1-8749-6A82AE9EDF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720179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046D963F-18FA-4F4E-B2F8-1765691B65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25.04.2021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E9C04A24-2205-4108-BEEB-43B063A989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5E34E1C0-8078-4D4A-A228-35D3572DF9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7234502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CE69380-9A73-474C-A071-8018E65EE5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FE42A117-78BD-4129-A892-24418F34994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70EA7F8D-C8DF-442B-90E1-19ED56C6BBB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E2D6E94F-FFB6-48F8-B695-EB528B1832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25.04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F0BC1A3F-79EC-4A2F-A39B-7796828C82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CD9F211B-0AD3-43A4-B9E9-E4C6C877EC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9214815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651DA92-9D49-47F2-A05F-A578FFF8DE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AEFC7390-5A75-4225-8766-B58E6A2750A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CA32CB42-591C-4FFB-AD05-9752AFF629B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08D622D7-BFF7-4AF2-8F8B-21A06ADD48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25.04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5F604F3D-AABB-471E-ACCC-F3A49E78CF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6DC76618-CBA7-45DD-9E79-9D8BD1610F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1817120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529D1DB-75DA-485A-AB20-C869545EA9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0C099284-889E-4490-825C-0BC746C235D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4EEE6E0C-15EB-49C5-B1EA-A3370D21FB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25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D1ACFAE-E677-40F0-BA16-EA27C59C7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E3CF5FB-35BC-42C4-B710-1801BEA236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39368851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476EE0A7-C6D3-41EE-998F-37E80641B0A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08965B1C-45F0-4035-975C-1375F4ACA1F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5C10088C-D78F-4418-9E6B-832D4AC507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25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0ECDB32-A9A0-433B-AACF-943FAB23D4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A0D8614-1E95-47AF-98BF-68C5169AA3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2874073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505006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31696962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313058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10920583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8801698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69003077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8325206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8681099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2805860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-2154" y="5761783"/>
            <a:ext cx="12192000" cy="10962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824755"/>
            <a:ext cx="9144000" cy="1071549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051604"/>
            <a:ext cx="9144000" cy="1071549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cxnSp>
        <p:nvCxnSpPr>
          <p:cNvPr id="9" name="Přímá spojnice 8">
            <a:extLst>
              <a:ext uri="{FF2B5EF4-FFF2-40B4-BE49-F238E27FC236}">
                <a16:creationId xmlns:a16="http://schemas.microsoft.com/office/drawing/2014/main" id="{9C6DB8DB-B4CE-44F2-A1F7-0115BA3B53A2}"/>
              </a:ext>
            </a:extLst>
          </p:cNvPr>
          <p:cNvCxnSpPr/>
          <p:nvPr userDrawn="1"/>
        </p:nvCxnSpPr>
        <p:spPr>
          <a:xfrm>
            <a:off x="20409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Přímá spojnice 9">
            <a:extLst>
              <a:ext uri="{FF2B5EF4-FFF2-40B4-BE49-F238E27FC236}">
                <a16:creationId xmlns:a16="http://schemas.microsoft.com/office/drawing/2014/main" id="{A3FF7D14-88C2-4766-B102-07A71872BC84}"/>
              </a:ext>
            </a:extLst>
          </p:cNvPr>
          <p:cNvCxnSpPr/>
          <p:nvPr userDrawn="1"/>
        </p:nvCxnSpPr>
        <p:spPr>
          <a:xfrm>
            <a:off x="7264966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Obrázek 10">
            <a:extLst>
              <a:ext uri="{FF2B5EF4-FFF2-40B4-BE49-F238E27FC236}">
                <a16:creationId xmlns:a16="http://schemas.microsoft.com/office/drawing/2014/main" id="{17C1E084-43DA-4F32-BC38-0A779DDC36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332066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Grafický objekt 15">
            <a:extLst>
              <a:ext uri="{FF2B5EF4-FFF2-40B4-BE49-F238E27FC236}">
                <a16:creationId xmlns:a16="http://schemas.microsoft.com/office/drawing/2014/main" id="{2E38FE36-8704-4B15-B3ED-B5C034568E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48260FB5-167E-9443-AE69-16DC60C7836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4807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201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147" y="1652595"/>
            <a:ext cx="11487705" cy="4409893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569EDE3C-273C-4A62-8AE9-D7C37796420F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DD8FE222-C5DA-489E-A8D2-33FE8FCEBFB9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Obrázek 13">
            <a:extLst>
              <a:ext uri="{FF2B5EF4-FFF2-40B4-BE49-F238E27FC236}">
                <a16:creationId xmlns:a16="http://schemas.microsoft.com/office/drawing/2014/main" id="{89115CFD-E318-44F9-9C3F-F0D1DFB085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C76277FD-5BED-487E-A934-D1523A7642AC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447D9C5A-7FE9-3A4D-8ADB-213088003C1A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CC8969BD-C246-CA42-B13C-EE47BC3DCA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0" name="Grafický objekt 19">
              <a:extLst>
                <a:ext uri="{FF2B5EF4-FFF2-40B4-BE49-F238E27FC236}">
                  <a16:creationId xmlns:a16="http://schemas.microsoft.com/office/drawing/2014/main" id="{E0BADCCC-4F74-4F0A-A7EF-44B904712F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270491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Nadpis 1">
            <a:extLst>
              <a:ext uri="{FF2B5EF4-FFF2-40B4-BE49-F238E27FC236}">
                <a16:creationId xmlns:a16="http://schemas.microsoft.com/office/drawing/2014/main" id="{6BECE3A1-9B13-4F1D-A61E-AF2067EC3C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49F50076-713F-4EFA-BEB6-E92A7CA2E9D8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91C1F1F5-9E1B-45D1-B8A7-385438BD57F0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Obrázek 12">
            <a:extLst>
              <a:ext uri="{FF2B5EF4-FFF2-40B4-BE49-F238E27FC236}">
                <a16:creationId xmlns:a16="http://schemas.microsoft.com/office/drawing/2014/main" id="{5110A526-5ED1-4270-B431-200E8EA05C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4" name="Obdélník 13">
            <a:extLst>
              <a:ext uri="{FF2B5EF4-FFF2-40B4-BE49-F238E27FC236}">
                <a16:creationId xmlns:a16="http://schemas.microsoft.com/office/drawing/2014/main" id="{E07EC997-097D-4BDE-970B-3BD77460A79F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20E63B92-56D5-F945-8613-CB3F227EB275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21" name="Grafický objekt 20">
              <a:extLst>
                <a:ext uri="{FF2B5EF4-FFF2-40B4-BE49-F238E27FC236}">
                  <a16:creationId xmlns:a16="http://schemas.microsoft.com/office/drawing/2014/main" id="{8251C239-9A82-3C4F-8A6F-8FDEBACFEF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2" name="Grafický objekt 21">
              <a:extLst>
                <a:ext uri="{FF2B5EF4-FFF2-40B4-BE49-F238E27FC236}">
                  <a16:creationId xmlns:a16="http://schemas.microsoft.com/office/drawing/2014/main" id="{D9D13083-7433-7A41-9812-10A926FB1B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550991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1851956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0206028A-BD57-470C-9B71-297203A578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9500876C-494A-AE40-BB68-202F9D2E43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17B44333-A92B-1F45-947C-508903C71A1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877481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délník 13">
            <a:extLst>
              <a:ext uri="{FF2B5EF4-FFF2-40B4-BE49-F238E27FC236}">
                <a16:creationId xmlns:a16="http://schemas.microsoft.com/office/drawing/2014/main" id="{E4590B06-0543-4571-8850-63C8D7437710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D939BFE6-5AA9-48F7-9C79-C28DD31BA5CC}"/>
              </a:ext>
            </a:extLst>
          </p:cNvPr>
          <p:cNvSpPr/>
          <p:nvPr userDrawn="1"/>
        </p:nvSpPr>
        <p:spPr>
          <a:xfrm>
            <a:off x="4221769" y="4075589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6E93BC90-CA18-4B4A-BD99-CD309B767F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A9EE4D8D-F381-054C-B05F-C0F073A786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4E187FAC-8385-4A41-BD8D-043AE215E17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515735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12161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43012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8725770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7914146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516863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7808470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5811337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5.04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742907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5518696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5.04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5876878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5.04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0223205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304837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066889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49722569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4777636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5.04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3187054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0789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Úvodní sníme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Obrázek 31">
            <a:extLst>
              <a:ext uri="{FF2B5EF4-FFF2-40B4-BE49-F238E27FC236}">
                <a16:creationId xmlns:a16="http://schemas.microsoft.com/office/drawing/2014/main" id="{195036A3-2C0E-4CFE-A711-5BBB07E7B7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7728" y="1584000"/>
            <a:ext cx="5336537" cy="3060000"/>
          </a:xfrm>
          <a:prstGeom prst="rect">
            <a:avLst/>
          </a:prstGeom>
        </p:spPr>
      </p:pic>
      <p:sp>
        <p:nvSpPr>
          <p:cNvPr id="16" name="Obdélník 15"/>
          <p:cNvSpPr/>
          <p:nvPr userDrawn="1"/>
        </p:nvSpPr>
        <p:spPr>
          <a:xfrm>
            <a:off x="-3" y="-38466"/>
            <a:ext cx="12192000" cy="6858000"/>
          </a:xfrm>
          <a:prstGeom prst="rect">
            <a:avLst/>
          </a:prstGeom>
          <a:gradFill flip="none" rotWithShape="1">
            <a:gsLst>
              <a:gs pos="49000">
                <a:schemeClr val="bg1"/>
              </a:gs>
              <a:gs pos="0">
                <a:schemeClr val="accent5">
                  <a:lumMod val="52000"/>
                  <a:lumOff val="48000"/>
                  <a:alpha val="67000"/>
                </a:schemeClr>
              </a:gs>
              <a:gs pos="100000">
                <a:schemeClr val="accent4">
                  <a:alpha val="6000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>
              <a:solidFill>
                <a:srgbClr val="274073"/>
              </a:solidFill>
            </a:endParaRPr>
          </a:p>
        </p:txBody>
      </p:sp>
      <p:sp>
        <p:nvSpPr>
          <p:cNvPr id="24" name="Obdélník 23"/>
          <p:cNvSpPr/>
          <p:nvPr userDrawn="1"/>
        </p:nvSpPr>
        <p:spPr>
          <a:xfrm>
            <a:off x="13436" y="5922000"/>
            <a:ext cx="12191997" cy="9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" name="Nadpis 1"/>
          <p:cNvSpPr>
            <a:spLocks noGrp="1"/>
          </p:cNvSpPr>
          <p:nvPr>
            <p:ph type="ctrTitle" hasCustomPrompt="1"/>
          </p:nvPr>
        </p:nvSpPr>
        <p:spPr>
          <a:xfrm>
            <a:off x="914400" y="2720943"/>
            <a:ext cx="10363200" cy="89153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 hasCustomPrompt="1"/>
          </p:nvPr>
        </p:nvSpPr>
        <p:spPr>
          <a:xfrm>
            <a:off x="1828800" y="4887218"/>
            <a:ext cx="8534400" cy="694928"/>
          </a:xfrm>
        </p:spPr>
        <p:txBody>
          <a:bodyPr>
            <a:normAutofit/>
          </a:bodyPr>
          <a:lstStyle>
            <a:lvl1pPr marL="0" indent="0" algn="ctr">
              <a:buNone/>
              <a:defRPr sz="2800" b="1">
                <a:solidFill>
                  <a:schemeClr val="accent4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cs-CZ" dirty="0"/>
              <a:t>KLIKNUTÍM LZE UPRAVIT STYL PŘEDLOHY.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-3" y="689910"/>
            <a:ext cx="12192000" cy="108012"/>
          </a:xfrm>
          <a:prstGeom prst="rect">
            <a:avLst/>
          </a:prstGeom>
          <a:solidFill>
            <a:srgbClr val="724F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13" name="Obdélník 12"/>
          <p:cNvSpPr/>
          <p:nvPr userDrawn="1"/>
        </p:nvSpPr>
        <p:spPr>
          <a:xfrm>
            <a:off x="-3" y="0"/>
            <a:ext cx="12192000" cy="6899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5" name="Obdélník 24"/>
          <p:cNvSpPr/>
          <p:nvPr userDrawn="1"/>
        </p:nvSpPr>
        <p:spPr>
          <a:xfrm>
            <a:off x="0" y="5879932"/>
            <a:ext cx="12192000" cy="45719"/>
          </a:xfrm>
          <a:prstGeom prst="rect">
            <a:avLst/>
          </a:prstGeom>
          <a:solidFill>
            <a:srgbClr val="004E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sp>
        <p:nvSpPr>
          <p:cNvPr id="17" name="TextovéPole 16"/>
          <p:cNvSpPr txBox="1"/>
          <p:nvPr userDrawn="1"/>
        </p:nvSpPr>
        <p:spPr>
          <a:xfrm>
            <a:off x="2788357" y="151329"/>
            <a:ext cx="8489243" cy="43088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dirty="0"/>
              <a:t>Národní koordinační centrum programů časného záchytu onemocnění I CZ.03.2.63/0.0/0.0/15_039/0006904</a:t>
            </a:r>
          </a:p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tová základna realizace screeningových programů CZ.03.2.63/0.0/0.0/15_039/0007216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F88470AF-D48F-470D-AEEF-9666AC0B61BB}"/>
              </a:ext>
            </a:extLst>
          </p:cNvPr>
          <p:cNvGrpSpPr/>
          <p:nvPr userDrawn="1"/>
        </p:nvGrpSpPr>
        <p:grpSpPr>
          <a:xfrm>
            <a:off x="972000" y="99405"/>
            <a:ext cx="2394526" cy="521285"/>
            <a:chOff x="-3635511" y="3808741"/>
            <a:chExt cx="2394526" cy="521285"/>
          </a:xfrm>
        </p:grpSpPr>
        <p:pic>
          <p:nvPicPr>
            <p:cNvPr id="22" name="Obrázek 21">
              <a:extLst>
                <a:ext uri="{FF2B5EF4-FFF2-40B4-BE49-F238E27FC236}">
                  <a16:creationId xmlns:a16="http://schemas.microsoft.com/office/drawing/2014/main" id="{7C156A95-99FD-463F-A7F7-8DFAEC399BE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077"/>
            <a:stretch/>
          </p:blipFill>
          <p:spPr>
            <a:xfrm>
              <a:off x="-3635511" y="3808741"/>
              <a:ext cx="754652" cy="505853"/>
            </a:xfrm>
            <a:prstGeom prst="rect">
              <a:avLst/>
            </a:prstGeom>
          </p:spPr>
        </p:pic>
        <p:sp>
          <p:nvSpPr>
            <p:cNvPr id="23" name="TextovéPole 22">
              <a:extLst>
                <a:ext uri="{FF2B5EF4-FFF2-40B4-BE49-F238E27FC236}">
                  <a16:creationId xmlns:a16="http://schemas.microsoft.com/office/drawing/2014/main" id="{4A16176F-E232-43A6-B00C-47517659318E}"/>
                </a:ext>
              </a:extLst>
            </p:cNvPr>
            <p:cNvSpPr txBox="1"/>
            <p:nvPr userDrawn="1"/>
          </p:nvSpPr>
          <p:spPr>
            <a:xfrm>
              <a:off x="-2954432" y="3822195"/>
              <a:ext cx="1713447" cy="5078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9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9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858CEEB2-107C-4552-B3EE-55408A9AA3DD}"/>
              </a:ext>
            </a:extLst>
          </p:cNvPr>
          <p:cNvSpPr txBox="1"/>
          <p:nvPr userDrawn="1"/>
        </p:nvSpPr>
        <p:spPr>
          <a:xfrm>
            <a:off x="1636734" y="6269165"/>
            <a:ext cx="38884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900" dirty="0">
                <a:solidFill>
                  <a:schemeClr val="accent2"/>
                </a:solidFill>
              </a:rPr>
              <a:t>Ústav zdravotnických informací a statistiky České republiky</a:t>
            </a:r>
          </a:p>
          <a:p>
            <a:r>
              <a:rPr lang="cs-CZ" sz="900" i="1" dirty="0">
                <a:solidFill>
                  <a:schemeClr val="accent2"/>
                </a:solidFill>
              </a:rPr>
              <a:t>Institute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Health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Information</a:t>
            </a:r>
            <a:r>
              <a:rPr lang="cs-CZ" sz="900" i="1" dirty="0">
                <a:solidFill>
                  <a:schemeClr val="accent2"/>
                </a:solidFill>
              </a:rPr>
              <a:t> and </a:t>
            </a:r>
            <a:r>
              <a:rPr lang="cs-CZ" sz="900" i="1" dirty="0" err="1">
                <a:solidFill>
                  <a:schemeClr val="accent2"/>
                </a:solidFill>
              </a:rPr>
              <a:t>Statistics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the</a:t>
            </a:r>
            <a:r>
              <a:rPr lang="cs-CZ" sz="900" i="1" dirty="0">
                <a:solidFill>
                  <a:schemeClr val="accent2"/>
                </a:solidFill>
              </a:rPr>
              <a:t> Czech Republic</a:t>
            </a:r>
          </a:p>
        </p:txBody>
      </p:sp>
      <p:pic>
        <p:nvPicPr>
          <p:cNvPr id="27" name="Obrázek 26">
            <a:extLst>
              <a:ext uri="{FF2B5EF4-FFF2-40B4-BE49-F238E27FC236}">
                <a16:creationId xmlns:a16="http://schemas.microsoft.com/office/drawing/2014/main" id="{9DC5116B-C626-40A9-A244-031AB6F7805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000" y="6195600"/>
            <a:ext cx="654994" cy="432000"/>
          </a:xfrm>
          <a:prstGeom prst="rect">
            <a:avLst/>
          </a:prstGeom>
        </p:spPr>
      </p:pic>
      <p:pic>
        <p:nvPicPr>
          <p:cNvPr id="28" name="Grafický objekt 13">
            <a:extLst>
              <a:ext uri="{FF2B5EF4-FFF2-40B4-BE49-F238E27FC236}">
                <a16:creationId xmlns:a16="http://schemas.microsoft.com/office/drawing/2014/main" id="{C250F949-DEEF-49A4-8BDC-56E499AC995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360842" y="6300157"/>
            <a:ext cx="2859158" cy="242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75896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178">
          <p15:clr>
            <a:srgbClr val="FBAE40"/>
          </p15:clr>
        </p15:guide>
        <p15:guide id="2" pos="7317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623392" y="980731"/>
            <a:ext cx="10944000" cy="4824537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7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61967566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963084" y="3273006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>
                <a:solidFill>
                  <a:schemeClr val="tx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963084" y="1772819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rgbClr val="724F77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dirty="0"/>
              <a:t>Kliknutím lze upravit styly předlohy textu.</a:t>
            </a:r>
          </a:p>
        </p:txBody>
      </p:sp>
      <p:sp>
        <p:nvSpPr>
          <p:cNvPr id="7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8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25.04.2021</a:t>
            </a:fld>
            <a:endParaRPr lang="cs-CZ" dirty="0"/>
          </a:p>
        </p:txBody>
      </p:sp>
      <p:sp>
        <p:nvSpPr>
          <p:cNvPr id="8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6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9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7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16617880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8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25.04.2021</a:t>
            </a:fld>
            <a:endParaRPr lang="cs-CZ" dirty="0"/>
          </a:p>
        </p:txBody>
      </p:sp>
      <p:sp>
        <p:nvSpPr>
          <p:cNvPr id="11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6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12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7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6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7095704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4.emf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.jpeg"/><Relationship Id="rId5" Type="http://schemas.openxmlformats.org/officeDocument/2006/relationships/theme" Target="../theme/theme2.xml"/><Relationship Id="rId10" Type="http://schemas.openxmlformats.org/officeDocument/2006/relationships/image" Target="../media/image12.svg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6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5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3.xml"/><Relationship Id="rId9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5" Type="http://schemas.openxmlformats.org/officeDocument/2006/relationships/slideLayout" Target="../slideLayouts/slideLayout33.xml"/><Relationship Id="rId4" Type="http://schemas.openxmlformats.org/officeDocument/2006/relationships/slideLayout" Target="../slideLayouts/slideLayout32.xml"/><Relationship Id="rId9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9.xml"/><Relationship Id="rId7" Type="http://schemas.openxmlformats.org/officeDocument/2006/relationships/theme" Target="../theme/theme6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5" Type="http://schemas.openxmlformats.org/officeDocument/2006/relationships/slideLayout" Target="../slideLayouts/slideLayout41.xml"/><Relationship Id="rId4" Type="http://schemas.openxmlformats.org/officeDocument/2006/relationships/slideLayout" Target="../slideLayouts/slideLayout40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3" Type="http://schemas.openxmlformats.org/officeDocument/2006/relationships/slideLayout" Target="../slideLayouts/slideLayout45.xml"/><Relationship Id="rId7" Type="http://schemas.openxmlformats.org/officeDocument/2006/relationships/slideLayout" Target="../slideLayouts/slideLayout49.xml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theme" Target="../theme/theme7.xml"/><Relationship Id="rId5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5.xml"/><Relationship Id="rId7" Type="http://schemas.openxmlformats.org/officeDocument/2006/relationships/theme" Target="../theme/theme8.xml"/><Relationship Id="rId2" Type="http://schemas.openxmlformats.org/officeDocument/2006/relationships/slideLayout" Target="../slideLayouts/slideLayout54.xml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7.xml"/><Relationship Id="rId4" Type="http://schemas.openxmlformats.org/officeDocument/2006/relationships/slideLayout" Target="../slideLayouts/slideLayout5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25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4" r:id="rId3"/>
    <p:sldLayoutId id="2147483655" r:id="rId4"/>
    <p:sldLayoutId id="2147483680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624000" y="764707"/>
            <a:ext cx="10944000" cy="504055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A8B41E4C-7C53-49D1-A6A7-BADC85A98B77}"/>
              </a:ext>
            </a:extLst>
          </p:cNvPr>
          <p:cNvSpPr/>
          <p:nvPr userDrawn="1"/>
        </p:nvSpPr>
        <p:spPr>
          <a:xfrm>
            <a:off x="0" y="6272892"/>
            <a:ext cx="12192000" cy="1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10964C23-7502-44A3-900C-38F4C522DDF7}"/>
              </a:ext>
            </a:extLst>
          </p:cNvPr>
          <p:cNvGrpSpPr/>
          <p:nvPr userDrawn="1"/>
        </p:nvGrpSpPr>
        <p:grpSpPr>
          <a:xfrm>
            <a:off x="439358" y="6370574"/>
            <a:ext cx="2266057" cy="421394"/>
            <a:chOff x="-1238301" y="3808742"/>
            <a:chExt cx="2266057" cy="421394"/>
          </a:xfrm>
        </p:grpSpPr>
        <p:pic>
          <p:nvPicPr>
            <p:cNvPr id="13" name="Obrázek 12">
              <a:extLst>
                <a:ext uri="{FF2B5EF4-FFF2-40B4-BE49-F238E27FC236}">
                  <a16:creationId xmlns:a16="http://schemas.microsoft.com/office/drawing/2014/main" id="{CDBD5828-5EFB-4A41-A797-93B2FC7F04E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077"/>
            <a:stretch/>
          </p:blipFill>
          <p:spPr>
            <a:xfrm>
              <a:off x="-1238301" y="3808742"/>
              <a:ext cx="612000" cy="410232"/>
            </a:xfrm>
            <a:prstGeom prst="rect">
              <a:avLst/>
            </a:prstGeom>
          </p:spPr>
        </p:pic>
        <p:sp>
          <p:nvSpPr>
            <p:cNvPr id="17" name="TextovéPole 16">
              <a:extLst>
                <a:ext uri="{FF2B5EF4-FFF2-40B4-BE49-F238E27FC236}">
                  <a16:creationId xmlns:a16="http://schemas.microsoft.com/office/drawing/2014/main" id="{772FED2F-5B03-4031-96D4-0C82449E52B0}"/>
                </a:ext>
              </a:extLst>
            </p:cNvPr>
            <p:cNvSpPr txBox="1"/>
            <p:nvPr userDrawn="1"/>
          </p:nvSpPr>
          <p:spPr>
            <a:xfrm>
              <a:off x="-685691" y="3814638"/>
              <a:ext cx="1713447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7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7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18" name="Obrázek 17">
            <a:extLst>
              <a:ext uri="{FF2B5EF4-FFF2-40B4-BE49-F238E27FC236}">
                <a16:creationId xmlns:a16="http://schemas.microsoft.com/office/drawing/2014/main" id="{D3A64A3E-5CE1-4373-9488-123DE518BFF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2168" y="6395690"/>
            <a:ext cx="1563511" cy="360000"/>
          </a:xfrm>
          <a:prstGeom prst="rect">
            <a:avLst/>
          </a:prstGeom>
        </p:spPr>
      </p:pic>
      <p:pic>
        <p:nvPicPr>
          <p:cNvPr id="22" name="Obrázek 21">
            <a:extLst>
              <a:ext uri="{FF2B5EF4-FFF2-40B4-BE49-F238E27FC236}">
                <a16:creationId xmlns:a16="http://schemas.microsoft.com/office/drawing/2014/main" id="{813C5B4A-5521-4F74-8DBB-23F3AD51747E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2432" y="6395690"/>
            <a:ext cx="545828" cy="360000"/>
          </a:xfrm>
          <a:prstGeom prst="rect">
            <a:avLst/>
          </a:prstGeom>
        </p:spPr>
      </p:pic>
      <p:pic>
        <p:nvPicPr>
          <p:cNvPr id="23" name="Grafický objekt 13">
            <a:extLst>
              <a:ext uri="{FF2B5EF4-FFF2-40B4-BE49-F238E27FC236}">
                <a16:creationId xmlns:a16="http://schemas.microsoft.com/office/drawing/2014/main" id="{4CAC0E8A-9294-4088-87D2-D875E5895AD2}"/>
              </a:ext>
            </a:extLst>
          </p:cNvPr>
          <p:cNvPicPr/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9125012" y="6472776"/>
            <a:ext cx="2627630" cy="222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13826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b="1" kern="1200">
          <a:solidFill>
            <a:srgbClr val="724F77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16">
          <p15:clr>
            <a:srgbClr val="F26B43"/>
          </p15:clr>
        </p15:guide>
        <p15:guide id="2" pos="4899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8496574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689" r:id="rId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F4B21331-3533-4DCA-902D-340C5FDCB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50E7000-6EE4-4239-B7E3-AAC3A01940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A77F4975-1139-46DC-ACC7-2B69CDCAD92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9909051-5E68-48C3-980E-E7BADE00A9DF}" type="datetimeFigureOut">
              <a:rPr lang="cs-CZ" smtClean="0"/>
              <a:t>25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916383B7-2D40-461F-8979-4123BD7D17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5E63E90-A2FF-4D88-ABBB-721BE3972A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158162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  <p:sldLayoutId id="2147483701" r:id="rId10"/>
    <p:sldLayoutId id="2147483702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1316932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32" r:id="rId2"/>
    <p:sldLayoutId id="2147483733" r:id="rId3"/>
    <p:sldLayoutId id="2147483734" r:id="rId4"/>
    <p:sldLayoutId id="2147483735" r:id="rId5"/>
    <p:sldLayoutId id="2147483736" r:id="rId6"/>
    <p:sldLayoutId id="2147483737" r:id="rId7"/>
    <p:sldLayoutId id="2147483738" r:id="rId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0595033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  <p:sldLayoutId id="2147483744" r:id="rId4"/>
    <p:sldLayoutId id="2147483745" r:id="rId5"/>
    <p:sldLayoutId id="2147483746" r:id="rId6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5590183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49" r:id="rId2"/>
    <p:sldLayoutId id="2147483750" r:id="rId3"/>
    <p:sldLayoutId id="2147483751" r:id="rId4"/>
    <p:sldLayoutId id="2147483752" r:id="rId5"/>
    <p:sldLayoutId id="2147483753" r:id="rId6"/>
    <p:sldLayoutId id="2147483754" r:id="rId7"/>
    <p:sldLayoutId id="2147483755" r:id="rId8"/>
    <p:sldLayoutId id="2147483756" r:id="rId9"/>
    <p:sldLayoutId id="2147483757" r:id="rId1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25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907626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760" r:id="rId2"/>
    <p:sldLayoutId id="2147483761" r:id="rId3"/>
    <p:sldLayoutId id="2147483762" r:id="rId4"/>
    <p:sldLayoutId id="2147483763" r:id="rId5"/>
    <p:sldLayoutId id="2147483764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emf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emf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4" Type="http://schemas.openxmlformats.org/officeDocument/2006/relationships/chart" Target="../charts/char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1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3" Type="http://schemas.openxmlformats.org/officeDocument/2006/relationships/tags" Target="../tags/tag14.xml"/><Relationship Id="rId7" Type="http://schemas.openxmlformats.org/officeDocument/2006/relationships/tags" Target="../tags/tag18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tags" Target="../tags/tag17.xml"/><Relationship Id="rId11" Type="http://schemas.openxmlformats.org/officeDocument/2006/relationships/chart" Target="../charts/chart6.xml"/><Relationship Id="rId5" Type="http://schemas.openxmlformats.org/officeDocument/2006/relationships/tags" Target="../tags/tag16.xml"/><Relationship Id="rId10" Type="http://schemas.openxmlformats.org/officeDocument/2006/relationships/notesSlide" Target="../notesSlides/notesSlide1.xml"/><Relationship Id="rId4" Type="http://schemas.openxmlformats.org/officeDocument/2006/relationships/tags" Target="../tags/tag15.xml"/><Relationship Id="rId9" Type="http://schemas.openxmlformats.org/officeDocument/2006/relationships/slideLayout" Target="../slideLayouts/slideLayout19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tags" Target="../tags/tag22.xml"/><Relationship Id="rId7" Type="http://schemas.openxmlformats.org/officeDocument/2006/relationships/tags" Target="../tags/tag26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tags" Target="../tags/tag25.xml"/><Relationship Id="rId5" Type="http://schemas.openxmlformats.org/officeDocument/2006/relationships/tags" Target="../tags/tag24.xml"/><Relationship Id="rId10" Type="http://schemas.openxmlformats.org/officeDocument/2006/relationships/chart" Target="../charts/chart7.xml"/><Relationship Id="rId4" Type="http://schemas.openxmlformats.org/officeDocument/2006/relationships/tags" Target="../tags/tag23.xml"/><Relationship Id="rId9" Type="http://schemas.openxmlformats.org/officeDocument/2006/relationships/notesSlide" Target="../notesSlides/notesSlide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4" Type="http://schemas.openxmlformats.org/officeDocument/2006/relationships/notesSlide" Target="../notesSlides/notesSlide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emf"/><Relationship Id="rId1" Type="http://schemas.openxmlformats.org/officeDocument/2006/relationships/slideLayout" Target="../slideLayouts/slideLayout38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8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38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5" Type="http://schemas.openxmlformats.org/officeDocument/2006/relationships/chart" Target="../charts/chart9.xml"/><Relationship Id="rId4" Type="http://schemas.openxmlformats.org/officeDocument/2006/relationships/slideLayout" Target="../slideLayouts/slideLayout58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5" Type="http://schemas.openxmlformats.org/officeDocument/2006/relationships/chart" Target="../charts/chart10.xml"/><Relationship Id="rId4" Type="http://schemas.openxmlformats.org/officeDocument/2006/relationships/slideLayout" Target="../slideLayouts/slideLayout58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chart" Target="../charts/chart11.xml"/><Relationship Id="rId5" Type="http://schemas.openxmlformats.org/officeDocument/2006/relationships/slideLayout" Target="../slideLayouts/slideLayout58.xml"/><Relationship Id="rId4" Type="http://schemas.openxmlformats.org/officeDocument/2006/relationships/tags" Target="../tags/tag38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chart" Target="../charts/chart12.xml"/><Relationship Id="rId5" Type="http://schemas.openxmlformats.org/officeDocument/2006/relationships/slideLayout" Target="../slideLayouts/slideLayout58.xml"/><Relationship Id="rId4" Type="http://schemas.openxmlformats.org/officeDocument/2006/relationships/tags" Target="../tags/tag4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tags" Target="../tags/tag50.xml"/><Relationship Id="rId13" Type="http://schemas.openxmlformats.org/officeDocument/2006/relationships/tags" Target="../tags/tag55.xml"/><Relationship Id="rId18" Type="http://schemas.openxmlformats.org/officeDocument/2006/relationships/image" Target="../media/image32.png"/><Relationship Id="rId3" Type="http://schemas.openxmlformats.org/officeDocument/2006/relationships/tags" Target="../tags/tag45.xml"/><Relationship Id="rId7" Type="http://schemas.openxmlformats.org/officeDocument/2006/relationships/tags" Target="../tags/tag49.xml"/><Relationship Id="rId12" Type="http://schemas.openxmlformats.org/officeDocument/2006/relationships/tags" Target="../tags/tag54.xml"/><Relationship Id="rId17" Type="http://schemas.openxmlformats.org/officeDocument/2006/relationships/image" Target="../media/image31.png"/><Relationship Id="rId2" Type="http://schemas.openxmlformats.org/officeDocument/2006/relationships/tags" Target="../tags/tag44.xml"/><Relationship Id="rId16" Type="http://schemas.openxmlformats.org/officeDocument/2006/relationships/image" Target="../media/image30.png"/><Relationship Id="rId1" Type="http://schemas.openxmlformats.org/officeDocument/2006/relationships/tags" Target="../tags/tag43.xml"/><Relationship Id="rId6" Type="http://schemas.openxmlformats.org/officeDocument/2006/relationships/tags" Target="../tags/tag48.xml"/><Relationship Id="rId11" Type="http://schemas.openxmlformats.org/officeDocument/2006/relationships/tags" Target="../tags/tag53.xml"/><Relationship Id="rId5" Type="http://schemas.openxmlformats.org/officeDocument/2006/relationships/tags" Target="../tags/tag47.xml"/><Relationship Id="rId15" Type="http://schemas.openxmlformats.org/officeDocument/2006/relationships/slideLayout" Target="../slideLayouts/slideLayout33.xml"/><Relationship Id="rId10" Type="http://schemas.openxmlformats.org/officeDocument/2006/relationships/tags" Target="../tags/tag52.xml"/><Relationship Id="rId4" Type="http://schemas.openxmlformats.org/officeDocument/2006/relationships/tags" Target="../tags/tag46.xml"/><Relationship Id="rId9" Type="http://schemas.openxmlformats.org/officeDocument/2006/relationships/tags" Target="../tags/tag51.xml"/><Relationship Id="rId14" Type="http://schemas.openxmlformats.org/officeDocument/2006/relationships/tags" Target="../tags/tag5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tags" Target="../tags/tag4.xml"/><Relationship Id="rId7" Type="http://schemas.openxmlformats.org/officeDocument/2006/relationships/slideLayout" Target="../slideLayouts/slideLayout1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5" Type="http://schemas.openxmlformats.org/officeDocument/2006/relationships/tags" Target="../tags/tag6.xml"/><Relationship Id="rId4" Type="http://schemas.openxmlformats.org/officeDocument/2006/relationships/tags" Target="../tags/tag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3346" y="3828910"/>
            <a:ext cx="11905307" cy="2236911"/>
          </a:xfrm>
        </p:spPr>
        <p:txBody>
          <a:bodyPr>
            <a:normAutofit fontScale="85000" lnSpcReduction="20000"/>
          </a:bodyPr>
          <a:lstStyle/>
          <a:p>
            <a:r>
              <a:rPr lang="cs-CZ" sz="5200" b="1" dirty="0" smtClean="0"/>
              <a:t>Zhodnocení </a:t>
            </a:r>
            <a:r>
              <a:rPr lang="cs-CZ" sz="5200" b="1" dirty="0" smtClean="0"/>
              <a:t>predikcí vývoje </a:t>
            </a:r>
            <a:r>
              <a:rPr lang="cs-CZ" sz="5200" b="1" dirty="0"/>
              <a:t>epidemie </a:t>
            </a:r>
          </a:p>
          <a:p>
            <a:r>
              <a:rPr lang="cs-CZ" sz="5200" b="1" dirty="0"/>
              <a:t>ve vazbě na přijatá opatření </a:t>
            </a:r>
          </a:p>
          <a:p>
            <a:r>
              <a:rPr lang="cs-CZ" sz="4200" i="1" dirty="0" smtClean="0"/>
              <a:t>Modely vybudované k 5.3. 2021 </a:t>
            </a:r>
            <a:r>
              <a:rPr lang="cs-CZ" sz="4200" i="1" dirty="0" smtClean="0"/>
              <a:t>a 10.4. 2021</a:t>
            </a:r>
          </a:p>
          <a:p>
            <a:r>
              <a:rPr lang="cs-CZ" sz="4200" i="1" dirty="0" smtClean="0"/>
              <a:t>- </a:t>
            </a:r>
            <a:r>
              <a:rPr lang="cs-CZ" sz="4200" i="1" dirty="0" smtClean="0"/>
              <a:t>doplnění </a:t>
            </a:r>
            <a:r>
              <a:rPr lang="cs-CZ" sz="4200" i="1" dirty="0"/>
              <a:t>dat </a:t>
            </a:r>
            <a:r>
              <a:rPr lang="cs-CZ" sz="4200" i="1" dirty="0" smtClean="0"/>
              <a:t>k </a:t>
            </a:r>
            <a:r>
              <a:rPr lang="cs-CZ" sz="4200" i="1" dirty="0" smtClean="0"/>
              <a:t>24. </a:t>
            </a:r>
            <a:r>
              <a:rPr lang="cs-CZ" sz="4200" i="1" dirty="0" smtClean="0"/>
              <a:t>4. </a:t>
            </a:r>
            <a:r>
              <a:rPr lang="cs-CZ" sz="4200" i="1" dirty="0"/>
              <a:t>2021</a:t>
            </a:r>
          </a:p>
        </p:txBody>
      </p:sp>
    </p:spTree>
    <p:extLst>
      <p:ext uri="{BB962C8B-B14F-4D97-AF65-F5344CB8AC3E}">
        <p14:creationId xmlns:p14="http://schemas.microsoft.com/office/powerpoint/2010/main" val="230074663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ovéPole 18"/>
          <p:cNvSpPr txBox="1"/>
          <p:nvPr/>
        </p:nvSpPr>
        <p:spPr>
          <a:xfrm>
            <a:off x="169682" y="2888098"/>
            <a:ext cx="11802358" cy="2893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400" b="0" i="1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400" b="0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800" b="1" i="1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…. to dokládá i simulace možného dopadu rozvolnění, která zakalkulovala částečný návrat dětí do škol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800" b="1" i="1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rizikové navýšení kontaktů v populaci</a:t>
            </a:r>
            <a:endParaRPr kumimoji="0" lang="cs-CZ" sz="38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Šipka dolů 1"/>
          <p:cNvSpPr/>
          <p:nvPr/>
        </p:nvSpPr>
        <p:spPr>
          <a:xfrm>
            <a:off x="5475831" y="3205077"/>
            <a:ext cx="977774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Obdélník 2"/>
          <p:cNvSpPr/>
          <p:nvPr/>
        </p:nvSpPr>
        <p:spPr>
          <a:xfrm>
            <a:off x="169682" y="254524"/>
            <a:ext cx="11886453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3600" b="1" kern="0" dirty="0" smtClean="0">
                <a:solidFill>
                  <a:prstClr val="black"/>
                </a:solidFill>
                <a:latin typeface="Calibri" panose="020F0502020204030204"/>
              </a:rPr>
              <a:t>Opatrné uvolňování, většinové dodržování opatření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3600" b="1" kern="0" dirty="0" smtClean="0">
                <a:solidFill>
                  <a:prstClr val="black"/>
                </a:solidFill>
                <a:latin typeface="Calibri" panose="020F0502020204030204"/>
              </a:rPr>
              <a:t>a postupující vakcinace vedou k rychlému zpomalování epidemie. Efekt změn o 12.4. ze zatím negativně nijak neprojevil. Přesto má epidemie populačně stále potenciál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3600" b="1" kern="0" dirty="0" smtClean="0">
                <a:solidFill>
                  <a:prstClr val="black"/>
                </a:solidFill>
                <a:latin typeface="Calibri" panose="020F0502020204030204"/>
              </a:rPr>
              <a:t>k dalšímu růstu.</a:t>
            </a:r>
            <a:endParaRPr kumimoji="0" lang="cs-CZ" sz="3600" b="0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Šipka dolů 4"/>
          <p:cNvSpPr/>
          <p:nvPr/>
        </p:nvSpPr>
        <p:spPr>
          <a:xfrm>
            <a:off x="5151252" y="6048186"/>
            <a:ext cx="1626932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679412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ázek 1">
            <a:extLst>
              <a:ext uri="{FF2B5EF4-FFF2-40B4-BE49-F238E27FC236}">
                <a16:creationId xmlns:a16="http://schemas.microsoft.com/office/drawing/2014/main" id="{20763A43-794D-457D-B639-948BAE5EDD4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4659" y="1523547"/>
            <a:ext cx="7250497" cy="3240000"/>
          </a:xfrm>
          <a:prstGeom prst="rect">
            <a:avLst/>
          </a:prstGeom>
        </p:spPr>
      </p:pic>
      <p:sp>
        <p:nvSpPr>
          <p:cNvPr id="24" name="TextovéPole 23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1400971" y="198705"/>
            <a:ext cx="9229366" cy="76944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IR model: udržení a významné posílení opatření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mulace</a:t>
            </a:r>
            <a:r>
              <a:rPr kumimoji="0" lang="cs-CZ" sz="2200" b="1" i="0" u="none" strike="noStrike" kern="1200" cap="none" spc="0" normalizeH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ožného rizikového d</a:t>
            </a:r>
            <a:r>
              <a:rPr kumimoji="0" lang="cs-CZ" sz="2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padu 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tenciálního rozvolnění 12.-19.4.2021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ovéPole 12">
            <a:extLst>
              <a:ext uri="{FF2B5EF4-FFF2-40B4-BE49-F238E27FC236}">
                <a16:creationId xmlns:a16="http://schemas.microsoft.com/office/drawing/2014/main" id="{9119B67F-49E4-4A7A-BA36-DAE66AAD4855}"/>
              </a:ext>
            </a:extLst>
          </p:cNvPr>
          <p:cNvSpPr txBox="1"/>
          <p:nvPr/>
        </p:nvSpPr>
        <p:spPr>
          <a:xfrm rot="16200000">
            <a:off x="-823009" y="3093360"/>
            <a:ext cx="30324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é případy onemocnění za den</a:t>
            </a:r>
          </a:p>
        </p:txBody>
      </p:sp>
      <p:sp>
        <p:nvSpPr>
          <p:cNvPr id="30" name="TextovéPole 25">
            <a:extLst>
              <a:ext uri="{FF2B5EF4-FFF2-40B4-BE49-F238E27FC236}">
                <a16:creationId xmlns:a16="http://schemas.microsoft.com/office/drawing/2014/main" id="{65FFF22E-E755-4AB1-9AFC-9DBD69DD7F82}"/>
              </a:ext>
            </a:extLst>
          </p:cNvPr>
          <p:cNvSpPr txBox="1"/>
          <p:nvPr/>
        </p:nvSpPr>
        <p:spPr>
          <a:xfrm>
            <a:off x="846581" y="1841326"/>
            <a:ext cx="5524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periodicity v rámci týdne, odpovídá cca týdenním klouzavým průměrům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1C4F1DEC-CA3B-4E8E-8A7E-D9123A0B7B2C}"/>
              </a:ext>
            </a:extLst>
          </p:cNvPr>
          <p:cNvSpPr/>
          <p:nvPr/>
        </p:nvSpPr>
        <p:spPr>
          <a:xfrm>
            <a:off x="8340641" y="1532028"/>
            <a:ext cx="3811184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25.1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základní reprodukce o 70 %</a:t>
            </a:r>
            <a:b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imulace šíření nakažlivějších forem viru, simulace nedodržování opatření)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19.2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pracovních kontaktů na 20 %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jiných kontaktů na 2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</a:t>
            </a:r>
            <a:r>
              <a:rPr kumimoji="0" lang="en-US" sz="1600" b="1" i="0" u="none" strike="noStrike" kern="0" cap="none" spc="0" normalizeH="0" baseline="0" noProof="0" dirty="0" err="1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zvoln</a:t>
            </a:r>
            <a:r>
              <a:rPr kumimoji="0" lang="cs-CZ" sz="1600" b="1" i="0" u="none" strike="noStrike" kern="0" cap="none" spc="0" normalizeH="0" baseline="0" noProof="0" dirty="0" err="1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ění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od 12.4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školních kontaktů na 3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</a:t>
            </a:r>
            <a:r>
              <a:rPr kumimoji="0" lang="en-US" sz="1600" b="1" i="0" u="none" strike="noStrike" kern="0" cap="none" spc="0" normalizeH="0" baseline="0" noProof="0" dirty="0" err="1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zvoln</a:t>
            </a:r>
            <a:r>
              <a:rPr kumimoji="0" lang="cs-CZ" sz="1600" b="1" i="0" u="none" strike="noStrike" kern="0" cap="none" spc="0" normalizeH="0" baseline="0" noProof="0" dirty="0" err="1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ění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od 19.4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pracovních/jiných kontaktů na 3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vedeny podíly normálních kontaktů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0F1B0D8B-D2F4-4533-8528-E8DD2C61DC04}"/>
              </a:ext>
            </a:extLst>
          </p:cNvPr>
          <p:cNvCxnSpPr/>
          <p:nvPr/>
        </p:nvCxnSpPr>
        <p:spPr>
          <a:xfrm>
            <a:off x="5672750" y="1532028"/>
            <a:ext cx="496389" cy="174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D23E56DB-DDE0-4AA6-BB35-813E6B878D6D}"/>
              </a:ext>
            </a:extLst>
          </p:cNvPr>
          <p:cNvSpPr txBox="1"/>
          <p:nvPr/>
        </p:nvSpPr>
        <p:spPr>
          <a:xfrm>
            <a:off x="6203973" y="1369564"/>
            <a:ext cx="20101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mulace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42BED43F-A47C-4D3B-9F87-076250E20B18}"/>
              </a:ext>
            </a:extLst>
          </p:cNvPr>
          <p:cNvSpPr txBox="1"/>
          <p:nvPr/>
        </p:nvSpPr>
        <p:spPr>
          <a:xfrm>
            <a:off x="1400971" y="1197205"/>
            <a:ext cx="36094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anžově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sud pozorovaná data,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klouzavý průměr, časové </a:t>
            </a:r>
            <a:r>
              <a: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poždění k hlášení 4 dny</a:t>
            </a:r>
            <a:endParaRPr kumimoji="0" lang="cs-CZ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11F9500-ED81-45FD-AF3C-90840EEBF1C3}"/>
              </a:ext>
            </a:extLst>
          </p:cNvPr>
          <p:cNvSpPr txBox="1"/>
          <p:nvPr/>
        </p:nvSpPr>
        <p:spPr>
          <a:xfrm>
            <a:off x="169916" y="5870196"/>
            <a:ext cx="803442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 SEIR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</a:p>
        </p:txBody>
      </p:sp>
      <p:graphicFrame>
        <p:nvGraphicFramePr>
          <p:cNvPr id="15" name="Tabulka 10">
            <a:extLst>
              <a:ext uri="{FF2B5EF4-FFF2-40B4-BE49-F238E27FC236}">
                <a16:creationId xmlns:a16="http://schemas.microsoft.com/office/drawing/2014/main" id="{4980723B-CE17-4BB1-95EB-C838B644D0EE}"/>
              </a:ext>
            </a:extLst>
          </p:cNvPr>
          <p:cNvGraphicFramePr>
            <a:graphicFrameLocks noGrp="1"/>
          </p:cNvGraphicFramePr>
          <p:nvPr/>
        </p:nvGraphicFramePr>
        <p:xfrm>
          <a:off x="200608" y="4765643"/>
          <a:ext cx="7834447" cy="8304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77996">
                  <a:extLst>
                    <a:ext uri="{9D8B030D-6E8A-4147-A177-3AD203B41FA5}">
                      <a16:colId xmlns:a16="http://schemas.microsoft.com/office/drawing/2014/main" val="2668584180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448076295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522117172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8102247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900389438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418613230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338296863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3321566055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650665797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2879972236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194269133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562465228"/>
                    </a:ext>
                  </a:extLst>
                </a:gridCol>
              </a:tblGrid>
              <a:tr h="275016">
                <a:tc>
                  <a:txBody>
                    <a:bodyPr/>
                    <a:lstStyle/>
                    <a:p>
                      <a:pPr algn="ctr" fontAlgn="b"/>
                      <a:endParaRPr lang="cs-CZ" sz="1200" b="1" i="0" u="none" strike="noStrike" noProof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červe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rp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ed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úno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řez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ub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  <a:endParaRPr lang="cs-CZ" sz="1100" b="1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1870"/>
                  </a:ext>
                </a:extLst>
              </a:tr>
              <a:tr h="28037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ově za měsíc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3950241"/>
                  </a:ext>
                </a:extLst>
              </a:tr>
              <a:tr h="27501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umulativně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2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0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2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9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94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7020435"/>
                  </a:ext>
                </a:extLst>
              </a:tr>
            </a:tbl>
          </a:graphicData>
        </a:graphic>
      </p:graphicFrame>
      <p:sp>
        <p:nvSpPr>
          <p:cNvPr id="17" name="TextovéPole 16"/>
          <p:cNvSpPr txBox="1"/>
          <p:nvPr/>
        </p:nvSpPr>
        <p:spPr>
          <a:xfrm>
            <a:off x="7213905" y="3389882"/>
            <a:ext cx="508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!</a:t>
            </a:r>
            <a:endParaRPr kumimoji="0" lang="cs-CZ" sz="3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  <p:sp>
        <p:nvSpPr>
          <p:cNvPr id="3" name="TextovéPole 2"/>
          <p:cNvSpPr txBox="1"/>
          <p:nvPr/>
        </p:nvSpPr>
        <p:spPr>
          <a:xfrm>
            <a:off x="4309402" y="2140210"/>
            <a:ext cx="341250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 smtClean="0">
                <a:solidFill>
                  <a:srgbClr val="C00000"/>
                </a:solidFill>
              </a:rPr>
              <a:t>Možný negativní dopad rozvolňování se zatím neprojevil, epidemie rychle zpomaluje.  </a:t>
            </a:r>
            <a:endParaRPr lang="cs-CZ" b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450058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95275" y="3693109"/>
            <a:ext cx="11737724" cy="2238375"/>
          </a:xfrm>
        </p:spPr>
        <p:txBody>
          <a:bodyPr>
            <a:normAutofit/>
          </a:bodyPr>
          <a:lstStyle/>
          <a:p>
            <a:r>
              <a:rPr lang="cs-CZ" sz="5000" b="1" dirty="0"/>
              <a:t>Nové modely zahrnující i potenciální </a:t>
            </a:r>
          </a:p>
          <a:p>
            <a:r>
              <a:rPr lang="cs-CZ" sz="5000" b="1" dirty="0"/>
              <a:t>dopad postupující vakcinace </a:t>
            </a:r>
          </a:p>
        </p:txBody>
      </p:sp>
    </p:spTree>
    <p:extLst>
      <p:ext uri="{BB962C8B-B14F-4D97-AF65-F5344CB8AC3E}">
        <p14:creationId xmlns:p14="http://schemas.microsoft.com/office/powerpoint/2010/main" val="137284987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Šipka dolů 1"/>
          <p:cNvSpPr/>
          <p:nvPr/>
        </p:nvSpPr>
        <p:spPr>
          <a:xfrm>
            <a:off x="5475831" y="1932681"/>
            <a:ext cx="977774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Obdélník 2"/>
          <p:cNvSpPr/>
          <p:nvPr/>
        </p:nvSpPr>
        <p:spPr>
          <a:xfrm>
            <a:off x="169682" y="254524"/>
            <a:ext cx="11886453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cs-CZ" sz="2400" b="1" kern="0" dirty="0"/>
              <a:t>Dlouhodobá predikce dle modelu SEIR, který byl pro epidemii COVID-19 v ČR adaptován na počátku dubna 2020. </a:t>
            </a:r>
            <a:r>
              <a:rPr lang="cs-CZ" sz="2400" i="1" kern="0" dirty="0">
                <a:solidFill>
                  <a:prstClr val="black"/>
                </a:solidFill>
              </a:rPr>
              <a:t>Predikce pro rizikový vývoj vyvolaný nárůstem rizikových kontaktů nebo zvýšením reprodukční dynamiky nákazy (virtuální efekt případného opětovného uvolnění nebo efekt šíření nakažlivějších forem viru). </a:t>
            </a:r>
            <a:endParaRPr lang="cs-CZ" sz="2400" i="1" kern="0" dirty="0">
              <a:solidFill>
                <a:prstClr val="black"/>
              </a:solidFill>
            </a:endParaRPr>
          </a:p>
        </p:txBody>
      </p:sp>
      <p:sp>
        <p:nvSpPr>
          <p:cNvPr id="5" name="Šipka dolů 4"/>
          <p:cNvSpPr/>
          <p:nvPr/>
        </p:nvSpPr>
        <p:spPr>
          <a:xfrm>
            <a:off x="5185656" y="5963344"/>
            <a:ext cx="1626932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Obdélník 3"/>
          <p:cNvSpPr/>
          <p:nvPr/>
        </p:nvSpPr>
        <p:spPr>
          <a:xfrm>
            <a:off x="195887" y="2472247"/>
            <a:ext cx="11537661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cs-CZ" sz="2400" b="1" kern="0" dirty="0" smtClean="0"/>
              <a:t>Model byl nově rozvinut a doplněn o komponentu Vakcinace (Model SEIRV) </a:t>
            </a:r>
          </a:p>
          <a:p>
            <a:pPr lvl="0" algn="ctr">
              <a:defRPr/>
            </a:pPr>
            <a:r>
              <a:rPr lang="cs-CZ" sz="2400" b="1" kern="0" dirty="0" smtClean="0"/>
              <a:t>– tedy stav po očkování, přičemž predikce pracují s rychlým efektem vakcinace (plná ochrana již s odstupem po 1. dávce) a s pomalejším efektem vakcinace (plná ochrana po druhé dávce)</a:t>
            </a:r>
            <a:endParaRPr lang="cs-CZ" sz="2400" b="1" kern="0" dirty="0"/>
          </a:p>
        </p:txBody>
      </p:sp>
      <p:sp>
        <p:nvSpPr>
          <p:cNvPr id="6" name="Obdélník 5"/>
          <p:cNvSpPr/>
          <p:nvPr/>
        </p:nvSpPr>
        <p:spPr>
          <a:xfrm>
            <a:off x="195887" y="4306382"/>
            <a:ext cx="11606471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dirty="0"/>
              <a:t>Model uvažuje věkově specifické počty vakcinovaných</a:t>
            </a:r>
            <a:r>
              <a:rPr lang="en-US" dirty="0"/>
              <a:t> – </a:t>
            </a:r>
            <a:r>
              <a:rPr lang="en-US" dirty="0" err="1"/>
              <a:t>pozorovan</a:t>
            </a:r>
            <a:r>
              <a:rPr lang="cs-CZ" dirty="0" err="1"/>
              <a:t>ých</a:t>
            </a:r>
            <a:r>
              <a:rPr lang="cs-CZ" dirty="0"/>
              <a:t> dle ISIN a popsaná projekce počtu očkovaných pro budoucí </a:t>
            </a:r>
            <a:r>
              <a:rPr lang="cs-CZ" dirty="0" smtClean="0"/>
              <a:t>simulace. Jedinec </a:t>
            </a:r>
            <a:r>
              <a:rPr lang="cs-CZ" dirty="0"/>
              <a:t>dosáhne ochrany před </a:t>
            </a:r>
            <a:r>
              <a:rPr lang="cs-CZ" dirty="0" smtClean="0"/>
              <a:t>nákazou při </a:t>
            </a:r>
            <a:r>
              <a:rPr lang="cs-CZ" dirty="0"/>
              <a:t>druhé dávce (pomalý scénář</a:t>
            </a:r>
            <a:r>
              <a:rPr lang="cs-CZ" dirty="0" smtClean="0"/>
              <a:t>) nebo při </a:t>
            </a:r>
            <a:r>
              <a:rPr lang="cs-CZ" dirty="0"/>
              <a:t>první dávce (rychlý scénář</a:t>
            </a:r>
            <a:r>
              <a:rPr lang="cs-CZ" dirty="0" smtClean="0"/>
              <a:t>), přičemž </a:t>
            </a:r>
            <a:r>
              <a:rPr lang="cs-CZ" dirty="0"/>
              <a:t>se předpokládá i ochrana před možností přenášet </a:t>
            </a:r>
            <a:r>
              <a:rPr lang="cs-CZ" dirty="0" smtClean="0"/>
              <a:t>infekci. Jedinci </a:t>
            </a:r>
            <a:r>
              <a:rPr lang="cs-CZ" dirty="0"/>
              <a:t>přecházejí ze stavů S a R proporčně do stavu V (očkovaní jsou i jedinci s prodělanou infekcí v minulosti), </a:t>
            </a:r>
            <a:r>
              <a:rPr lang="cs-CZ" dirty="0" smtClean="0"/>
              <a:t>nepředpokládá </a:t>
            </a:r>
            <a:r>
              <a:rPr lang="cs-CZ" dirty="0"/>
              <a:t>se očkování jedinců aktuálně prodělávajících infekci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1122678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ovéPole 23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1400971" y="151570"/>
            <a:ext cx="9229366" cy="707886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héma stavového modelu SEIR</a:t>
            </a:r>
            <a:r>
              <a:rPr lang="en-US" sz="20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</a:t>
            </a:r>
            <a:r>
              <a:rPr lang="cs-CZ" sz="20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ro </a:t>
            </a:r>
            <a:r>
              <a:rPr lang="cs-CZ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louhodobé simulace</a:t>
            </a:r>
            <a:r>
              <a:rPr lang="en-US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en-US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000" b="1" u="sn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 </a:t>
            </a:r>
            <a:r>
              <a:rPr lang="en-US" sz="2000" b="1" u="sng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padem</a:t>
            </a:r>
            <a:r>
              <a:rPr lang="en-US" sz="2000" b="1" u="sn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</a:t>
            </a:r>
            <a:r>
              <a:rPr lang="cs-CZ" sz="2000" b="1" u="sng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čkování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18" name="Obdélník 17">
            <a:extLst>
              <a:ext uri="{FF2B5EF4-FFF2-40B4-BE49-F238E27FC236}">
                <a16:creationId xmlns:a16="http://schemas.microsoft.com/office/drawing/2014/main" id="{2B04E69E-696B-426D-92D2-95AD65B197D7}"/>
              </a:ext>
            </a:extLst>
          </p:cNvPr>
          <p:cNvSpPr/>
          <p:nvPr/>
        </p:nvSpPr>
        <p:spPr>
          <a:xfrm>
            <a:off x="1082695" y="2710392"/>
            <a:ext cx="1909483" cy="1013010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chylní jedinci</a:t>
            </a:r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D063A768-01D3-4A56-8BBA-28DED35E1CE0}"/>
              </a:ext>
            </a:extLst>
          </p:cNvPr>
          <p:cNvSpPr/>
          <p:nvPr/>
        </p:nvSpPr>
        <p:spPr>
          <a:xfrm>
            <a:off x="3824400" y="2710392"/>
            <a:ext cx="1909483" cy="1013010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ponovaní jedinci</a:t>
            </a:r>
          </a:p>
        </p:txBody>
      </p:sp>
      <p:sp>
        <p:nvSpPr>
          <p:cNvPr id="20" name="Obdélník 19">
            <a:extLst>
              <a:ext uri="{FF2B5EF4-FFF2-40B4-BE49-F238E27FC236}">
                <a16:creationId xmlns:a16="http://schemas.microsoft.com/office/drawing/2014/main" id="{BADCA929-8F51-4A46-84F0-4EE1E7912B1C}"/>
              </a:ext>
            </a:extLst>
          </p:cNvPr>
          <p:cNvSpPr/>
          <p:nvPr/>
        </p:nvSpPr>
        <p:spPr>
          <a:xfrm>
            <a:off x="6566105" y="1689064"/>
            <a:ext cx="1909483" cy="1013010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</a:t>
            </a:r>
            <a:r>
              <a:rPr kumimoji="0" lang="cs-CZ" sz="2400" b="0" i="0" u="none" strike="noStrike" kern="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fekční jedinci</a:t>
            </a:r>
            <a:b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říznaky</a:t>
            </a:r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6AD42F47-49DC-4AF9-9274-1EA0FEA16506}"/>
              </a:ext>
            </a:extLst>
          </p:cNvPr>
          <p:cNvSpPr/>
          <p:nvPr/>
        </p:nvSpPr>
        <p:spPr>
          <a:xfrm>
            <a:off x="9439289" y="2701427"/>
            <a:ext cx="1909483" cy="1013010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zolovaní jedinci</a:t>
            </a:r>
          </a:p>
        </p:txBody>
      </p:sp>
      <p:sp>
        <p:nvSpPr>
          <p:cNvPr id="22" name="Šipka: doprava 44">
            <a:extLst>
              <a:ext uri="{FF2B5EF4-FFF2-40B4-BE49-F238E27FC236}">
                <a16:creationId xmlns:a16="http://schemas.microsoft.com/office/drawing/2014/main" id="{4C13D826-2505-4EE1-82AE-F4AB7726E1B5}"/>
              </a:ext>
            </a:extLst>
          </p:cNvPr>
          <p:cNvSpPr/>
          <p:nvPr/>
        </p:nvSpPr>
        <p:spPr>
          <a:xfrm>
            <a:off x="3134865" y="3033120"/>
            <a:ext cx="546847" cy="367553"/>
          </a:xfrm>
          <a:prstGeom prst="rightArrow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Obdélník 24">
            <a:extLst>
              <a:ext uri="{FF2B5EF4-FFF2-40B4-BE49-F238E27FC236}">
                <a16:creationId xmlns:a16="http://schemas.microsoft.com/office/drawing/2014/main" id="{B14B0F29-42EE-4449-8FA0-2FFCC0E7A5D6}"/>
              </a:ext>
            </a:extLst>
          </p:cNvPr>
          <p:cNvSpPr/>
          <p:nvPr/>
        </p:nvSpPr>
        <p:spPr>
          <a:xfrm>
            <a:off x="6566105" y="3736200"/>
            <a:ext cx="1909483" cy="1013010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</a:t>
            </a:r>
            <a:r>
              <a:rPr kumimoji="0" lang="cs-CZ" sz="2400" b="0" i="0" u="none" strike="noStrike" kern="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fekční jedinci</a:t>
            </a:r>
            <a:b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příznakoví</a:t>
            </a:r>
          </a:p>
        </p:txBody>
      </p:sp>
      <p:sp>
        <p:nvSpPr>
          <p:cNvPr id="26" name="Šipka: doprava 46">
            <a:extLst>
              <a:ext uri="{FF2B5EF4-FFF2-40B4-BE49-F238E27FC236}">
                <a16:creationId xmlns:a16="http://schemas.microsoft.com/office/drawing/2014/main" id="{D213C4CF-884A-47FE-9932-16FB105C4037}"/>
              </a:ext>
            </a:extLst>
          </p:cNvPr>
          <p:cNvSpPr/>
          <p:nvPr/>
        </p:nvSpPr>
        <p:spPr>
          <a:xfrm>
            <a:off x="5827330" y="2015627"/>
            <a:ext cx="738776" cy="367553"/>
          </a:xfrm>
          <a:prstGeom prst="rightArrow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Šipka: doprava 47">
            <a:extLst>
              <a:ext uri="{FF2B5EF4-FFF2-40B4-BE49-F238E27FC236}">
                <a16:creationId xmlns:a16="http://schemas.microsoft.com/office/drawing/2014/main" id="{608B85F7-5E22-4599-8F4E-6A61635A808E}"/>
              </a:ext>
            </a:extLst>
          </p:cNvPr>
          <p:cNvSpPr/>
          <p:nvPr/>
        </p:nvSpPr>
        <p:spPr>
          <a:xfrm>
            <a:off x="5827328" y="4055094"/>
            <a:ext cx="738777" cy="367553"/>
          </a:xfrm>
          <a:prstGeom prst="rightArrow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Obdélník 27">
            <a:extLst>
              <a:ext uri="{FF2B5EF4-FFF2-40B4-BE49-F238E27FC236}">
                <a16:creationId xmlns:a16="http://schemas.microsoft.com/office/drawing/2014/main" id="{A1F9FDF5-109A-473A-86F7-AE70B59EEBF0}"/>
              </a:ext>
            </a:extLst>
          </p:cNvPr>
          <p:cNvSpPr/>
          <p:nvPr/>
        </p:nvSpPr>
        <p:spPr>
          <a:xfrm>
            <a:off x="5827329" y="2118720"/>
            <a:ext cx="191929" cy="2214283"/>
          </a:xfrm>
          <a:prstGeom prst="rect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Šipka: doprava 49">
            <a:extLst>
              <a:ext uri="{FF2B5EF4-FFF2-40B4-BE49-F238E27FC236}">
                <a16:creationId xmlns:a16="http://schemas.microsoft.com/office/drawing/2014/main" id="{10587047-838E-48F4-9F92-8CBF3AB25FF0}"/>
              </a:ext>
            </a:extLst>
          </p:cNvPr>
          <p:cNvSpPr/>
          <p:nvPr/>
        </p:nvSpPr>
        <p:spPr>
          <a:xfrm>
            <a:off x="8610864" y="2990538"/>
            <a:ext cx="738777" cy="367553"/>
          </a:xfrm>
          <a:prstGeom prst="rightArrow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Obdélník 30">
            <a:extLst>
              <a:ext uri="{FF2B5EF4-FFF2-40B4-BE49-F238E27FC236}">
                <a16:creationId xmlns:a16="http://schemas.microsoft.com/office/drawing/2014/main" id="{054974A4-DA60-4490-9AAD-3973AAACF2C2}"/>
              </a:ext>
            </a:extLst>
          </p:cNvPr>
          <p:cNvSpPr/>
          <p:nvPr/>
        </p:nvSpPr>
        <p:spPr>
          <a:xfrm>
            <a:off x="8610865" y="2118720"/>
            <a:ext cx="191929" cy="2214283"/>
          </a:xfrm>
          <a:prstGeom prst="rect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FE7E001D-0B75-40E0-AAE6-7132D90F7EA2}"/>
              </a:ext>
            </a:extLst>
          </p:cNvPr>
          <p:cNvSpPr txBox="1"/>
          <p:nvPr/>
        </p:nvSpPr>
        <p:spPr>
          <a:xfrm>
            <a:off x="729454" y="1430123"/>
            <a:ext cx="293513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fekčnost onemocnění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četnost kontaktů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díl infekčních jedinců </a:t>
            </a:r>
            <a:b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populaci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9F44768C-5FDA-4214-A558-285F9A9BD9CE}"/>
              </a:ext>
            </a:extLst>
          </p:cNvPr>
          <p:cNvSpPr txBox="1"/>
          <p:nvPr/>
        </p:nvSpPr>
        <p:spPr>
          <a:xfrm>
            <a:off x="3487540" y="1663657"/>
            <a:ext cx="293513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élka latentního období</a:t>
            </a:r>
            <a:b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po nákaze, před infekčností)</a:t>
            </a: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F915E3A6-2C83-4C2A-9CE0-5284C9CD8F0D}"/>
              </a:ext>
            </a:extLst>
          </p:cNvPr>
          <p:cNvSpPr txBox="1"/>
          <p:nvPr/>
        </p:nvSpPr>
        <p:spPr>
          <a:xfrm>
            <a:off x="6326350" y="2755231"/>
            <a:ext cx="232485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díl bezpříznakových jedinců</a:t>
            </a:r>
          </a:p>
        </p:txBody>
      </p:sp>
      <p:sp>
        <p:nvSpPr>
          <p:cNvPr id="36" name="TextovéPole 35">
            <a:extLst>
              <a:ext uri="{FF2B5EF4-FFF2-40B4-BE49-F238E27FC236}">
                <a16:creationId xmlns:a16="http://schemas.microsoft.com/office/drawing/2014/main" id="{EC9FA024-5E59-4474-9F8F-D201213190EE}"/>
              </a:ext>
            </a:extLst>
          </p:cNvPr>
          <p:cNvSpPr txBox="1"/>
          <p:nvPr/>
        </p:nvSpPr>
        <p:spPr>
          <a:xfrm>
            <a:off x="8762459" y="1707122"/>
            <a:ext cx="232485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élka infekčního období/rychlost izolace</a:t>
            </a:r>
          </a:p>
        </p:txBody>
      </p:sp>
      <p:sp>
        <p:nvSpPr>
          <p:cNvPr id="37" name="TextovéPole 36">
            <a:extLst>
              <a:ext uri="{FF2B5EF4-FFF2-40B4-BE49-F238E27FC236}">
                <a16:creationId xmlns:a16="http://schemas.microsoft.com/office/drawing/2014/main" id="{03E6A01B-C785-4E5E-A264-0E817822A778}"/>
              </a:ext>
            </a:extLst>
          </p:cNvPr>
          <p:cNvSpPr txBox="1"/>
          <p:nvPr/>
        </p:nvSpPr>
        <p:spPr>
          <a:xfrm>
            <a:off x="6179868" y="932247"/>
            <a:ext cx="50740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APOČÍTÁNÍ MEZI PŘÍPADY (JEN SYMPTOMATIČTÍ)</a:t>
            </a:r>
          </a:p>
        </p:txBody>
      </p:sp>
      <p:sp>
        <p:nvSpPr>
          <p:cNvPr id="38" name="Šipka: dolů 56">
            <a:extLst>
              <a:ext uri="{FF2B5EF4-FFF2-40B4-BE49-F238E27FC236}">
                <a16:creationId xmlns:a16="http://schemas.microsoft.com/office/drawing/2014/main" id="{782C6E6F-542D-452F-93BB-94B4C05288A8}"/>
              </a:ext>
            </a:extLst>
          </p:cNvPr>
          <p:cNvSpPr/>
          <p:nvPr/>
        </p:nvSpPr>
        <p:spPr>
          <a:xfrm>
            <a:off x="8509197" y="1339569"/>
            <a:ext cx="415367" cy="367553"/>
          </a:xfrm>
          <a:prstGeom prst="downArrow">
            <a:avLst/>
          </a:prstGeom>
          <a:solidFill>
            <a:srgbClr val="D3114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" name="Obdélník 38">
            <a:extLst>
              <a:ext uri="{FF2B5EF4-FFF2-40B4-BE49-F238E27FC236}">
                <a16:creationId xmlns:a16="http://schemas.microsoft.com/office/drawing/2014/main" id="{DDCAC9A8-B998-4990-8433-32D07C5EAEB7}"/>
              </a:ext>
            </a:extLst>
          </p:cNvPr>
          <p:cNvSpPr/>
          <p:nvPr/>
        </p:nvSpPr>
        <p:spPr>
          <a:xfrm>
            <a:off x="9439289" y="4938026"/>
            <a:ext cx="1909483" cy="1013010"/>
          </a:xfrm>
          <a:prstGeom prst="rect">
            <a:avLst/>
          </a:prstGeom>
          <a:solidFill>
            <a:srgbClr val="33CC3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čkovaní jedinci</a:t>
            </a:r>
          </a:p>
        </p:txBody>
      </p:sp>
      <p:sp>
        <p:nvSpPr>
          <p:cNvPr id="40" name="Šipka: doprava 20">
            <a:extLst>
              <a:ext uri="{FF2B5EF4-FFF2-40B4-BE49-F238E27FC236}">
                <a16:creationId xmlns:a16="http://schemas.microsoft.com/office/drawing/2014/main" id="{A41BEF73-7A63-410D-95FD-7BD1E2D4B038}"/>
              </a:ext>
            </a:extLst>
          </p:cNvPr>
          <p:cNvSpPr/>
          <p:nvPr/>
        </p:nvSpPr>
        <p:spPr>
          <a:xfrm>
            <a:off x="1804832" y="5210447"/>
            <a:ext cx="7525177" cy="367553"/>
          </a:xfrm>
          <a:prstGeom prst="rightArrow">
            <a:avLst/>
          </a:prstGeom>
          <a:solidFill>
            <a:srgbClr val="33CC3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" name="Šipka: doprava 21">
            <a:extLst>
              <a:ext uri="{FF2B5EF4-FFF2-40B4-BE49-F238E27FC236}">
                <a16:creationId xmlns:a16="http://schemas.microsoft.com/office/drawing/2014/main" id="{31B8BC44-7A01-4824-9AED-DF040E9F9BA2}"/>
              </a:ext>
            </a:extLst>
          </p:cNvPr>
          <p:cNvSpPr/>
          <p:nvPr/>
        </p:nvSpPr>
        <p:spPr>
          <a:xfrm rot="5400000">
            <a:off x="9887524" y="4124044"/>
            <a:ext cx="1013009" cy="367553"/>
          </a:xfrm>
          <a:prstGeom prst="rightArrow">
            <a:avLst/>
          </a:prstGeom>
          <a:solidFill>
            <a:srgbClr val="33CC3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Obdélník 41">
            <a:extLst>
              <a:ext uri="{FF2B5EF4-FFF2-40B4-BE49-F238E27FC236}">
                <a16:creationId xmlns:a16="http://schemas.microsoft.com/office/drawing/2014/main" id="{74FC45F5-50A9-43F3-8CE1-BEE500BD193E}"/>
              </a:ext>
            </a:extLst>
          </p:cNvPr>
          <p:cNvSpPr/>
          <p:nvPr/>
        </p:nvSpPr>
        <p:spPr>
          <a:xfrm>
            <a:off x="1800678" y="3801316"/>
            <a:ext cx="191929" cy="1672140"/>
          </a:xfrm>
          <a:prstGeom prst="rect">
            <a:avLst/>
          </a:prstGeom>
          <a:solidFill>
            <a:srgbClr val="33CC3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3" name="TextovéPole 42">
            <a:extLst>
              <a:ext uri="{FF2B5EF4-FFF2-40B4-BE49-F238E27FC236}">
                <a16:creationId xmlns:a16="http://schemas.microsoft.com/office/drawing/2014/main" id="{59AD60A5-4AFD-463C-8D2A-104E5B3F5610}"/>
              </a:ext>
            </a:extLst>
          </p:cNvPr>
          <p:cNvSpPr txBox="1"/>
          <p:nvPr/>
        </p:nvSpPr>
        <p:spPr>
          <a:xfrm>
            <a:off x="2070275" y="4846884"/>
            <a:ext cx="29351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očkovaných jedinců</a:t>
            </a:r>
          </a:p>
        </p:txBody>
      </p:sp>
      <p:sp>
        <p:nvSpPr>
          <p:cNvPr id="44" name="Obdélník 43"/>
          <p:cNvSpPr/>
          <p:nvPr/>
        </p:nvSpPr>
        <p:spPr>
          <a:xfrm>
            <a:off x="246823" y="6012633"/>
            <a:ext cx="1153766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cs-CZ" sz="2400" b="1" kern="0" dirty="0" smtClean="0"/>
              <a:t>Aplikace nového modelu s vakcinací vysvětluje rychlejší zpomalování epidemie</a:t>
            </a:r>
            <a:endParaRPr lang="cs-CZ" sz="2400" b="1" kern="0" dirty="0"/>
          </a:p>
        </p:txBody>
      </p:sp>
      <p:sp>
        <p:nvSpPr>
          <p:cNvPr id="45" name="Šipka dolů 44"/>
          <p:cNvSpPr/>
          <p:nvPr/>
        </p:nvSpPr>
        <p:spPr>
          <a:xfrm>
            <a:off x="5109827" y="6434542"/>
            <a:ext cx="1626932" cy="286302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148132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ek 3">
            <a:extLst>
              <a:ext uri="{FF2B5EF4-FFF2-40B4-BE49-F238E27FC236}">
                <a16:creationId xmlns:a16="http://schemas.microsoft.com/office/drawing/2014/main" id="{F397AA4E-E8FD-475C-9917-F8FDE0891E0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4659" y="1528819"/>
            <a:ext cx="7250497" cy="3240000"/>
          </a:xfrm>
          <a:prstGeom prst="rect">
            <a:avLst/>
          </a:prstGeom>
        </p:spPr>
      </p:pic>
      <p:sp>
        <p:nvSpPr>
          <p:cNvPr id="24" name="TextovéPole 23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1400971" y="198705"/>
            <a:ext cx="9229366" cy="76944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IRV model: udržení a významné posílení opatření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pad potenciálního rozvolnění 12.-19.4.2021, 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ahrnutí vlivu očkování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ovéPole 12">
            <a:extLst>
              <a:ext uri="{FF2B5EF4-FFF2-40B4-BE49-F238E27FC236}">
                <a16:creationId xmlns:a16="http://schemas.microsoft.com/office/drawing/2014/main" id="{9119B67F-49E4-4A7A-BA36-DAE66AAD4855}"/>
              </a:ext>
            </a:extLst>
          </p:cNvPr>
          <p:cNvSpPr txBox="1"/>
          <p:nvPr/>
        </p:nvSpPr>
        <p:spPr>
          <a:xfrm rot="16200000">
            <a:off x="-823009" y="3093360"/>
            <a:ext cx="30324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é případy onemocnění za den</a:t>
            </a:r>
          </a:p>
        </p:txBody>
      </p:sp>
      <p:sp>
        <p:nvSpPr>
          <p:cNvPr id="30" name="TextovéPole 25">
            <a:extLst>
              <a:ext uri="{FF2B5EF4-FFF2-40B4-BE49-F238E27FC236}">
                <a16:creationId xmlns:a16="http://schemas.microsoft.com/office/drawing/2014/main" id="{65FFF22E-E755-4AB1-9AFC-9DBD69DD7F82}"/>
              </a:ext>
            </a:extLst>
          </p:cNvPr>
          <p:cNvSpPr txBox="1"/>
          <p:nvPr/>
        </p:nvSpPr>
        <p:spPr>
          <a:xfrm>
            <a:off x="846581" y="1841326"/>
            <a:ext cx="5524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periodicity v rámci týdne, odpovídá cca týdenním klouzavým průměrům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1C4F1DEC-CA3B-4E8E-8A7E-D9123A0B7B2C}"/>
              </a:ext>
            </a:extLst>
          </p:cNvPr>
          <p:cNvSpPr/>
          <p:nvPr/>
        </p:nvSpPr>
        <p:spPr>
          <a:xfrm>
            <a:off x="8340641" y="1532028"/>
            <a:ext cx="3811184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25.1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základní reprodukce o 70 %</a:t>
            </a:r>
            <a:b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imulace šíření nakažlivějších forem viru, simulace nedodržování opatření)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19.2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pracovních kontaktů na 20 %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jiných kontaktů na 20 - 25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</a:t>
            </a:r>
            <a:r>
              <a:rPr kumimoji="0" lang="en-US" sz="1600" b="1" i="0" u="none" strike="noStrike" kern="0" cap="none" spc="0" normalizeH="0" baseline="0" noProof="0" dirty="0" err="1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zvoln</a:t>
            </a:r>
            <a:r>
              <a:rPr kumimoji="0" lang="cs-CZ" sz="1600" b="1" i="0" u="none" strike="noStrike" kern="0" cap="none" spc="0" normalizeH="0" baseline="0" noProof="0" dirty="0" err="1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ění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od 12.4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školních kontaktů na 3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</a:t>
            </a:r>
            <a:r>
              <a:rPr kumimoji="0" lang="en-US" sz="1600" b="1" i="0" u="none" strike="noStrike" kern="0" cap="none" spc="0" normalizeH="0" baseline="0" noProof="0" dirty="0" err="1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zvoln</a:t>
            </a:r>
            <a:r>
              <a:rPr kumimoji="0" lang="cs-CZ" sz="1600" b="1" i="0" u="none" strike="noStrike" kern="0" cap="none" spc="0" normalizeH="0" baseline="0" noProof="0" dirty="0" err="1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ění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od 19.4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pracovních/jiných kontaktů na 3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vedeny podíly normálních kontaktů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0F1B0D8B-D2F4-4533-8528-E8DD2C61DC04}"/>
              </a:ext>
            </a:extLst>
          </p:cNvPr>
          <p:cNvCxnSpPr/>
          <p:nvPr/>
        </p:nvCxnSpPr>
        <p:spPr>
          <a:xfrm>
            <a:off x="5672750" y="1532028"/>
            <a:ext cx="496389" cy="174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D23E56DB-DDE0-4AA6-BB35-813E6B878D6D}"/>
              </a:ext>
            </a:extLst>
          </p:cNvPr>
          <p:cNvSpPr txBox="1"/>
          <p:nvPr/>
        </p:nvSpPr>
        <p:spPr>
          <a:xfrm>
            <a:off x="6203973" y="1369564"/>
            <a:ext cx="20101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mulace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42BED43F-A47C-4D3B-9F87-076250E20B18}"/>
              </a:ext>
            </a:extLst>
          </p:cNvPr>
          <p:cNvSpPr txBox="1"/>
          <p:nvPr/>
        </p:nvSpPr>
        <p:spPr>
          <a:xfrm>
            <a:off x="1400971" y="1197205"/>
            <a:ext cx="36094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anžově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sud pozorovaná data,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klouzavý průměr, časové </a:t>
            </a:r>
            <a:r>
              <a: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poždění k hlášení 4 dny</a:t>
            </a:r>
            <a:endParaRPr kumimoji="0" lang="cs-CZ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11F9500-ED81-45FD-AF3C-90840EEBF1C3}"/>
              </a:ext>
            </a:extLst>
          </p:cNvPr>
          <p:cNvSpPr txBox="1"/>
          <p:nvPr/>
        </p:nvSpPr>
        <p:spPr>
          <a:xfrm>
            <a:off x="169916" y="5870196"/>
            <a:ext cx="803442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 SEIR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</a:p>
        </p:txBody>
      </p:sp>
      <p:graphicFrame>
        <p:nvGraphicFramePr>
          <p:cNvPr id="15" name="Tabulka 10">
            <a:extLst>
              <a:ext uri="{FF2B5EF4-FFF2-40B4-BE49-F238E27FC236}">
                <a16:creationId xmlns:a16="http://schemas.microsoft.com/office/drawing/2014/main" id="{4980723B-CE17-4BB1-95EB-C838B644D0EE}"/>
              </a:ext>
            </a:extLst>
          </p:cNvPr>
          <p:cNvGraphicFramePr>
            <a:graphicFrameLocks noGrp="1"/>
          </p:cNvGraphicFramePr>
          <p:nvPr/>
        </p:nvGraphicFramePr>
        <p:xfrm>
          <a:off x="200608" y="4765643"/>
          <a:ext cx="7834447" cy="8304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77996">
                  <a:extLst>
                    <a:ext uri="{9D8B030D-6E8A-4147-A177-3AD203B41FA5}">
                      <a16:colId xmlns:a16="http://schemas.microsoft.com/office/drawing/2014/main" val="2668584180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448076295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522117172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8102247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900389438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418613230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338296863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3321566055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650665797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2879972236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194269133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562465228"/>
                    </a:ext>
                  </a:extLst>
                </a:gridCol>
              </a:tblGrid>
              <a:tr h="275016">
                <a:tc>
                  <a:txBody>
                    <a:bodyPr/>
                    <a:lstStyle/>
                    <a:p>
                      <a:pPr algn="ctr" fontAlgn="b"/>
                      <a:endParaRPr lang="cs-CZ" sz="1200" b="1" i="0" u="none" strike="noStrike" noProof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červe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rp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ed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úno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řez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ub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  <a:endParaRPr lang="cs-CZ" sz="1100" b="1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1870"/>
                  </a:ext>
                </a:extLst>
              </a:tr>
              <a:tr h="28037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ově za měsíc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2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3950241"/>
                  </a:ext>
                </a:extLst>
              </a:tr>
              <a:tr h="27501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umulativně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1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7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5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6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4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7020435"/>
                  </a:ext>
                </a:extLst>
              </a:tr>
            </a:tbl>
          </a:graphicData>
        </a:graphic>
      </p:graphicFrame>
      <p:sp>
        <p:nvSpPr>
          <p:cNvPr id="2" name="TextovéPole 1">
            <a:extLst>
              <a:ext uri="{FF2B5EF4-FFF2-40B4-BE49-F238E27FC236}">
                <a16:creationId xmlns:a16="http://schemas.microsoft.com/office/drawing/2014/main" id="{3006972F-DFB3-4559-816B-3ADA61240E58}"/>
              </a:ext>
            </a:extLst>
          </p:cNvPr>
          <p:cNvSpPr txBox="1"/>
          <p:nvPr/>
        </p:nvSpPr>
        <p:spPr>
          <a:xfrm>
            <a:off x="8443609" y="6056343"/>
            <a:ext cx="3501957" cy="64633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YCHLÝ SCÉNÁŘ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unita od data první dávky</a:t>
            </a:r>
          </a:p>
        </p:txBody>
      </p:sp>
    </p:spTree>
    <p:extLst>
      <p:ext uri="{BB962C8B-B14F-4D97-AF65-F5344CB8AC3E}">
        <p14:creationId xmlns:p14="http://schemas.microsoft.com/office/powerpoint/2010/main" val="200865066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>
            <a:extLst>
              <a:ext uri="{FF2B5EF4-FFF2-40B4-BE49-F238E27FC236}">
                <a16:creationId xmlns:a16="http://schemas.microsoft.com/office/drawing/2014/main" id="{C36EF37F-25EA-4E8A-B7A6-FECE434676E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6490" y="1529113"/>
            <a:ext cx="7250497" cy="3240000"/>
          </a:xfrm>
          <a:prstGeom prst="rect">
            <a:avLst/>
          </a:prstGeom>
        </p:spPr>
      </p:pic>
      <p:sp>
        <p:nvSpPr>
          <p:cNvPr id="24" name="TextovéPole 23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1400971" y="198705"/>
            <a:ext cx="9229366" cy="76944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IRV model: udržení a významné posílení opatření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pad potenciálního rozvolnění 12.-19.4.2021, 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ahrnutí vlivu očkování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ovéPole 12">
            <a:extLst>
              <a:ext uri="{FF2B5EF4-FFF2-40B4-BE49-F238E27FC236}">
                <a16:creationId xmlns:a16="http://schemas.microsoft.com/office/drawing/2014/main" id="{9119B67F-49E4-4A7A-BA36-DAE66AAD4855}"/>
              </a:ext>
            </a:extLst>
          </p:cNvPr>
          <p:cNvSpPr txBox="1"/>
          <p:nvPr/>
        </p:nvSpPr>
        <p:spPr>
          <a:xfrm rot="16200000">
            <a:off x="-823009" y="3093360"/>
            <a:ext cx="30324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é případy onemocnění za den</a:t>
            </a:r>
          </a:p>
        </p:txBody>
      </p:sp>
      <p:sp>
        <p:nvSpPr>
          <p:cNvPr id="30" name="TextovéPole 25">
            <a:extLst>
              <a:ext uri="{FF2B5EF4-FFF2-40B4-BE49-F238E27FC236}">
                <a16:creationId xmlns:a16="http://schemas.microsoft.com/office/drawing/2014/main" id="{65FFF22E-E755-4AB1-9AFC-9DBD69DD7F82}"/>
              </a:ext>
            </a:extLst>
          </p:cNvPr>
          <p:cNvSpPr txBox="1"/>
          <p:nvPr/>
        </p:nvSpPr>
        <p:spPr>
          <a:xfrm>
            <a:off x="846581" y="1841326"/>
            <a:ext cx="5524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periodicity v rámci týdne, odpovídá cca týdenním klouzavým průměrům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1C4F1DEC-CA3B-4E8E-8A7E-D9123A0B7B2C}"/>
              </a:ext>
            </a:extLst>
          </p:cNvPr>
          <p:cNvSpPr/>
          <p:nvPr/>
        </p:nvSpPr>
        <p:spPr>
          <a:xfrm>
            <a:off x="8340641" y="1532028"/>
            <a:ext cx="3811184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25.1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základní reprodukce o 70 %</a:t>
            </a:r>
            <a:b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imulace šíření nakažlivějších forem viru, simulace nedodržování opatření)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19.2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pracovních kontaktů na 20 %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jiných kontaktů na 20 - 25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</a:t>
            </a:r>
            <a:r>
              <a:rPr kumimoji="0" lang="en-US" sz="1600" b="1" i="0" u="none" strike="noStrike" kern="0" cap="none" spc="0" normalizeH="0" baseline="0" noProof="0" dirty="0" err="1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zvoln</a:t>
            </a:r>
            <a:r>
              <a:rPr kumimoji="0" lang="cs-CZ" sz="1600" b="1" i="0" u="none" strike="noStrike" kern="0" cap="none" spc="0" normalizeH="0" baseline="0" noProof="0" dirty="0" err="1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ění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od 12.4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školních kontaktů na 3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</a:t>
            </a:r>
            <a:r>
              <a:rPr kumimoji="0" lang="en-US" sz="1600" b="1" i="0" u="none" strike="noStrike" kern="0" cap="none" spc="0" normalizeH="0" baseline="0" noProof="0" dirty="0" err="1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zvoln</a:t>
            </a:r>
            <a:r>
              <a:rPr kumimoji="0" lang="cs-CZ" sz="1600" b="1" i="0" u="none" strike="noStrike" kern="0" cap="none" spc="0" normalizeH="0" baseline="0" noProof="0" dirty="0" err="1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ění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od 19.4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pracovních/jiných kontaktů na 3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vedeny podíly normálních kontaktů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0F1B0D8B-D2F4-4533-8528-E8DD2C61DC04}"/>
              </a:ext>
            </a:extLst>
          </p:cNvPr>
          <p:cNvCxnSpPr/>
          <p:nvPr/>
        </p:nvCxnSpPr>
        <p:spPr>
          <a:xfrm>
            <a:off x="5672750" y="1532028"/>
            <a:ext cx="496389" cy="174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D23E56DB-DDE0-4AA6-BB35-813E6B878D6D}"/>
              </a:ext>
            </a:extLst>
          </p:cNvPr>
          <p:cNvSpPr txBox="1"/>
          <p:nvPr/>
        </p:nvSpPr>
        <p:spPr>
          <a:xfrm>
            <a:off x="6203973" y="1369564"/>
            <a:ext cx="20101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mulace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42BED43F-A47C-4D3B-9F87-076250E20B18}"/>
              </a:ext>
            </a:extLst>
          </p:cNvPr>
          <p:cNvSpPr txBox="1"/>
          <p:nvPr/>
        </p:nvSpPr>
        <p:spPr>
          <a:xfrm>
            <a:off x="1400971" y="1197205"/>
            <a:ext cx="36094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anžově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sud pozorovaná data,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ACOVNÍ DNY, časové </a:t>
            </a:r>
            <a:r>
              <a: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poždění k hlášení 4 dny</a:t>
            </a:r>
            <a:endParaRPr kumimoji="0" lang="cs-CZ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11F9500-ED81-45FD-AF3C-90840EEBF1C3}"/>
              </a:ext>
            </a:extLst>
          </p:cNvPr>
          <p:cNvSpPr txBox="1"/>
          <p:nvPr/>
        </p:nvSpPr>
        <p:spPr>
          <a:xfrm>
            <a:off x="169916" y="5870196"/>
            <a:ext cx="803442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 SEIR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</a:p>
        </p:txBody>
      </p:sp>
      <p:graphicFrame>
        <p:nvGraphicFramePr>
          <p:cNvPr id="15" name="Tabulka 10">
            <a:extLst>
              <a:ext uri="{FF2B5EF4-FFF2-40B4-BE49-F238E27FC236}">
                <a16:creationId xmlns:a16="http://schemas.microsoft.com/office/drawing/2014/main" id="{4980723B-CE17-4BB1-95EB-C838B644D0EE}"/>
              </a:ext>
            </a:extLst>
          </p:cNvPr>
          <p:cNvGraphicFramePr>
            <a:graphicFrameLocks noGrp="1"/>
          </p:cNvGraphicFramePr>
          <p:nvPr/>
        </p:nvGraphicFramePr>
        <p:xfrm>
          <a:off x="200608" y="4765643"/>
          <a:ext cx="7834447" cy="8304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77996">
                  <a:extLst>
                    <a:ext uri="{9D8B030D-6E8A-4147-A177-3AD203B41FA5}">
                      <a16:colId xmlns:a16="http://schemas.microsoft.com/office/drawing/2014/main" val="2668584180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448076295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522117172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8102247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900389438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418613230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338296863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3321566055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650665797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2879972236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194269133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562465228"/>
                    </a:ext>
                  </a:extLst>
                </a:gridCol>
              </a:tblGrid>
              <a:tr h="275016">
                <a:tc>
                  <a:txBody>
                    <a:bodyPr/>
                    <a:lstStyle/>
                    <a:p>
                      <a:pPr algn="ctr" fontAlgn="b"/>
                      <a:endParaRPr lang="cs-CZ" sz="1200" b="1" i="0" u="none" strike="noStrike" noProof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červe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rp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ed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úno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řez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ub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  <a:endParaRPr lang="cs-CZ" sz="1100" b="1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1870"/>
                  </a:ext>
                </a:extLst>
              </a:tr>
              <a:tr h="28037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ově za měsíc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2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3950241"/>
                  </a:ext>
                </a:extLst>
              </a:tr>
              <a:tr h="27501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umulativně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1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7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5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6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4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7020435"/>
                  </a:ext>
                </a:extLst>
              </a:tr>
            </a:tbl>
          </a:graphicData>
        </a:graphic>
      </p:graphicFrame>
      <p:sp>
        <p:nvSpPr>
          <p:cNvPr id="2" name="TextovéPole 1">
            <a:extLst>
              <a:ext uri="{FF2B5EF4-FFF2-40B4-BE49-F238E27FC236}">
                <a16:creationId xmlns:a16="http://schemas.microsoft.com/office/drawing/2014/main" id="{3006972F-DFB3-4559-816B-3ADA61240E58}"/>
              </a:ext>
            </a:extLst>
          </p:cNvPr>
          <p:cNvSpPr txBox="1"/>
          <p:nvPr/>
        </p:nvSpPr>
        <p:spPr>
          <a:xfrm>
            <a:off x="8443609" y="6056343"/>
            <a:ext cx="3501957" cy="64633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YCHLÝ SCÉNÁŘ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unita od data první dávky</a:t>
            </a:r>
          </a:p>
        </p:txBody>
      </p:sp>
    </p:spTree>
    <p:extLst>
      <p:ext uri="{BB962C8B-B14F-4D97-AF65-F5344CB8AC3E}">
        <p14:creationId xmlns:p14="http://schemas.microsoft.com/office/powerpoint/2010/main" val="248334232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/>
        </p:nvSpPr>
        <p:spPr>
          <a:xfrm>
            <a:off x="143226" y="3337295"/>
            <a:ext cx="11737832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álná data a vývoj epidemie dosud potvrzují, že rozvolnění po 12.4. se na vývoji epidemie neprojevilo, situace začíná být stabilní. Pokud i další kroky budou pozvolné a uvážené, lze i v důsledku postupující vakcinace očekávat, že 7denní incidence klesne celorepublikově pod hranici 100 případů / 100 tis. obyv. v první polovině května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6" name="Šipka dolů 5"/>
          <p:cNvSpPr/>
          <p:nvPr/>
        </p:nvSpPr>
        <p:spPr>
          <a:xfrm>
            <a:off x="5236288" y="1345020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257889" y="152401"/>
            <a:ext cx="11508509" cy="305619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400" b="1" i="0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louhodobé</a:t>
            </a:r>
            <a:r>
              <a:rPr kumimoji="0" lang="cs-CZ" sz="3400" b="1" i="0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edikce založené na modelu SEIR(V) byly promítnuty do tří scénářů možného vývoje</a:t>
            </a:r>
            <a:endParaRPr kumimoji="0" lang="cs-CZ" sz="3400" b="1" i="0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cs-CZ" sz="3400" b="1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. </a:t>
            </a:r>
            <a:r>
              <a:rPr kumimoji="0" lang="cs-CZ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ychlé zpomalování epidemie bez vlivu vakcinace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I. </a:t>
            </a:r>
            <a:r>
              <a:rPr kumimoji="0" lang="cs-CZ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pad rozvolňování v dubnu na růst epidemie, kompenzovaný postupující vakcinací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II. </a:t>
            </a:r>
            <a:r>
              <a:rPr kumimoji="0" lang="cs-CZ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zvolné rozvolňování v dubnu bez dopadu na růst epidemie a vliv postupující vakcinace</a:t>
            </a:r>
            <a:endParaRPr kumimoji="0" lang="cs-CZ" sz="24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Šipka dolů 9"/>
          <p:cNvSpPr/>
          <p:nvPr/>
        </p:nvSpPr>
        <p:spPr>
          <a:xfrm>
            <a:off x="5236288" y="5904095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5709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2400" dirty="0"/>
              <a:t>Scénáře dlouhodobých simulací z 5.3. 2021</a:t>
            </a:r>
            <a:endParaRPr lang="cs-CZ" sz="2400" dirty="0">
              <a:latin typeface="+mj-lt"/>
            </a:endParaRPr>
          </a:p>
        </p:txBody>
      </p:sp>
      <p:sp>
        <p:nvSpPr>
          <p:cNvPr id="54" name="TextovéPole 53">
            <a:extLst>
              <a:ext uri="{FF2B5EF4-FFF2-40B4-BE49-F238E27FC236}">
                <a16:creationId xmlns:a16="http://schemas.microsoft.com/office/drawing/2014/main" id="{D4CEFD9C-3B06-416C-AB13-5153476AA83F}"/>
              </a:ext>
            </a:extLst>
          </p:cNvPr>
          <p:cNvSpPr txBox="1"/>
          <p:nvPr/>
        </p:nvSpPr>
        <p:spPr>
          <a:xfrm>
            <a:off x="174900" y="813302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vývoje</a:t>
            </a:r>
          </a:p>
        </p:txBody>
      </p:sp>
      <p:graphicFrame>
        <p:nvGraphicFramePr>
          <p:cNvPr id="58" name="Chart 4">
            <a:extLst>
              <a:ext uri="{FF2B5EF4-FFF2-40B4-BE49-F238E27FC236}">
                <a16:creationId xmlns:a16="http://schemas.microsoft.com/office/drawing/2014/main" id="{6AF8037E-9CEB-4EF9-871D-03B93915FF85}"/>
              </a:ext>
            </a:extLst>
          </p:cNvPr>
          <p:cNvGraphicFramePr/>
          <p:nvPr>
            <p:custDataLst>
              <p:tags r:id="rId1"/>
            </p:custDataLst>
            <p:extLst/>
          </p:nvPr>
        </p:nvGraphicFramePr>
        <p:xfrm>
          <a:off x="556549" y="280823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9" name="TextBox 6">
            <a:extLst>
              <a:ext uri="{FF2B5EF4-FFF2-40B4-BE49-F238E27FC236}">
                <a16:creationId xmlns:a16="http://schemas.microsoft.com/office/drawing/2014/main" id="{52DB9877-E0F1-4394-B7F1-2FFC02A1EF08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62" name="Přímá spojnice 61">
            <a:extLst>
              <a:ext uri="{FF2B5EF4-FFF2-40B4-BE49-F238E27FC236}">
                <a16:creationId xmlns:a16="http://schemas.microsoft.com/office/drawing/2014/main" id="{80D93A6D-177B-4185-B647-B8DF07634E10}"/>
              </a:ext>
            </a:extLst>
          </p:cNvPr>
          <p:cNvCxnSpPr>
            <a:cxnSpLocks/>
          </p:cNvCxnSpPr>
          <p:nvPr/>
        </p:nvCxnSpPr>
        <p:spPr>
          <a:xfrm>
            <a:off x="8184667" y="3488848"/>
            <a:ext cx="237744" cy="0"/>
          </a:xfrm>
          <a:prstGeom prst="line">
            <a:avLst/>
          </a:prstGeom>
          <a:ln w="38100">
            <a:solidFill>
              <a:schemeClr val="accent3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ovéPole 62">
            <a:extLst>
              <a:ext uri="{FF2B5EF4-FFF2-40B4-BE49-F238E27FC236}">
                <a16:creationId xmlns:a16="http://schemas.microsoft.com/office/drawing/2014/main" id="{618D1943-12D3-4993-BD5F-AF6C65AB8F85}"/>
              </a:ext>
            </a:extLst>
          </p:cNvPr>
          <p:cNvSpPr txBox="1"/>
          <p:nvPr/>
        </p:nvSpPr>
        <p:spPr>
          <a:xfrm>
            <a:off x="8480699" y="3306641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</a:t>
            </a:r>
          </a:p>
        </p:txBody>
      </p:sp>
      <p:sp>
        <p:nvSpPr>
          <p:cNvPr id="64" name="Obdélník 63">
            <a:extLst>
              <a:ext uri="{FF2B5EF4-FFF2-40B4-BE49-F238E27FC236}">
                <a16:creationId xmlns:a16="http://schemas.microsoft.com/office/drawing/2014/main" id="{FF9D4894-4AE1-4907-A2C1-EBC6B8B4E502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+mn-cs"/>
              </a:rPr>
              <a:t>Snímek prezentuje výsledky simulace prostřednictvím epidemiologického modelu SEIRV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  <a:endParaRPr kumimoji="0" lang="cs-CZ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66" name="Obdélník 65">
            <a:extLst>
              <a:ext uri="{FF2B5EF4-FFF2-40B4-BE49-F238E27FC236}">
                <a16:creationId xmlns:a16="http://schemas.microsoft.com/office/drawing/2014/main" id="{36CCB663-0E68-4640-BF33-FA593EA32061}"/>
              </a:ext>
            </a:extLst>
          </p:cNvPr>
          <p:cNvSpPr/>
          <p:nvPr/>
        </p:nvSpPr>
        <p:spPr>
          <a:xfrm>
            <a:off x="8207310" y="2936369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7" name="TextovéPole 66">
            <a:extLst>
              <a:ext uri="{FF2B5EF4-FFF2-40B4-BE49-F238E27FC236}">
                <a16:creationId xmlns:a16="http://schemas.microsoft.com/office/drawing/2014/main" id="{029FB996-37A5-40D2-AF91-BDC4A30C0984}"/>
              </a:ext>
            </a:extLst>
          </p:cNvPr>
          <p:cNvSpPr txBox="1"/>
          <p:nvPr/>
        </p:nvSpPr>
        <p:spPr>
          <a:xfrm>
            <a:off x="8504490" y="2900601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eálná data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1. 4. 2021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68" name="Obdélník 67">
            <a:extLst>
              <a:ext uri="{FF2B5EF4-FFF2-40B4-BE49-F238E27FC236}">
                <a16:creationId xmlns:a16="http://schemas.microsoft.com/office/drawing/2014/main" id="{E6597242-CEB1-44FD-BFBE-11D4203E109C}"/>
              </a:ext>
            </a:extLst>
          </p:cNvPr>
          <p:cNvSpPr/>
          <p:nvPr/>
        </p:nvSpPr>
        <p:spPr>
          <a:xfrm>
            <a:off x="8504490" y="3602891"/>
            <a:ext cx="175721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5. 3. 2021)</a:t>
            </a: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34E638C8-29BF-4E40-BC86-1339E761E909}"/>
              </a:ext>
            </a:extLst>
          </p:cNvPr>
          <p:cNvSpPr txBox="1"/>
          <p:nvPr/>
        </p:nvSpPr>
        <p:spPr>
          <a:xfrm>
            <a:off x="2555524" y="854676"/>
            <a:ext cx="9176454" cy="369332"/>
          </a:xfrm>
          <a:prstGeom prst="rect">
            <a:avLst/>
          </a:prstGeom>
          <a:solidFill>
            <a:srgbClr val="00B050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I.: významné posílení opatření z 1.3 a rychlé zpomalení epidemie – BEZ vlivu vakcinace</a:t>
            </a:r>
          </a:p>
        </p:txBody>
      </p:sp>
      <p:sp>
        <p:nvSpPr>
          <p:cNvPr id="3" name="TextovéPole 2"/>
          <p:cNvSpPr txBox="1"/>
          <p:nvPr/>
        </p:nvSpPr>
        <p:spPr>
          <a:xfrm>
            <a:off x="1015407" y="1465738"/>
            <a:ext cx="924629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e zřejmé, že i při předpokládaném významném zpomalování epidemie je pokles zátěže dlouhodobý. Reálná data avšak ukazují na rychlejší pokles zátěže než odpovídá nastavenému scénáři. Do tohoto trendu se již může promítat postupující vakcinace. </a:t>
            </a:r>
          </a:p>
        </p:txBody>
      </p:sp>
    </p:spTree>
    <p:extLst>
      <p:ext uri="{BB962C8B-B14F-4D97-AF65-F5344CB8AC3E}">
        <p14:creationId xmlns:p14="http://schemas.microsoft.com/office/powerpoint/2010/main" val="305323742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2400" dirty="0"/>
              <a:t>Scénáře dlouhodobých simulací z 5.3. 2021</a:t>
            </a:r>
            <a:endParaRPr lang="cs-CZ" sz="2400" dirty="0">
              <a:latin typeface="+mj-lt"/>
            </a:endParaRPr>
          </a:p>
        </p:txBody>
      </p:sp>
      <p:sp>
        <p:nvSpPr>
          <p:cNvPr id="54" name="TextovéPole 53">
            <a:extLst>
              <a:ext uri="{FF2B5EF4-FFF2-40B4-BE49-F238E27FC236}">
                <a16:creationId xmlns:a16="http://schemas.microsoft.com/office/drawing/2014/main" id="{D4CEFD9C-3B06-416C-AB13-5153476AA83F}"/>
              </a:ext>
            </a:extLst>
          </p:cNvPr>
          <p:cNvSpPr txBox="1"/>
          <p:nvPr/>
        </p:nvSpPr>
        <p:spPr>
          <a:xfrm>
            <a:off x="228600" y="920423"/>
            <a:ext cx="14255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</a:t>
            </a:r>
          </a:p>
        </p:txBody>
      </p:sp>
      <p:sp>
        <p:nvSpPr>
          <p:cNvPr id="55" name="TextovéPole 54">
            <a:extLst>
              <a:ext uri="{FF2B5EF4-FFF2-40B4-BE49-F238E27FC236}">
                <a16:creationId xmlns:a16="http://schemas.microsoft.com/office/drawing/2014/main" id="{B465D225-9F63-4054-8EF6-ACEB098FE1B3}"/>
              </a:ext>
            </a:extLst>
          </p:cNvPr>
          <p:cNvSpPr txBox="1"/>
          <p:nvPr/>
        </p:nvSpPr>
        <p:spPr>
          <a:xfrm>
            <a:off x="2369709" y="1235819"/>
            <a:ext cx="9078221" cy="369332"/>
          </a:xfrm>
          <a:prstGeom prst="rect">
            <a:avLst/>
          </a:prstGeom>
          <a:solidFill>
            <a:srgbClr val="FF6600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</a:t>
            </a:r>
            <a:r>
              <a:rPr kumimoji="0" lang="cs-CZ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Ia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negativní dopad rozvolnění v dubnu + rychlý efekt vakcinace </a:t>
            </a:r>
          </a:p>
        </p:txBody>
      </p:sp>
      <p:cxnSp>
        <p:nvCxnSpPr>
          <p:cNvPr id="56" name="Přímá spojnice se šipkou 55">
            <a:extLst>
              <a:ext uri="{FF2B5EF4-FFF2-40B4-BE49-F238E27FC236}">
                <a16:creationId xmlns:a16="http://schemas.microsoft.com/office/drawing/2014/main" id="{50DE1626-F284-4D84-BDAB-EF119447AE2F}"/>
              </a:ext>
            </a:extLst>
          </p:cNvPr>
          <p:cNvCxnSpPr>
            <a:cxnSpLocks/>
          </p:cNvCxnSpPr>
          <p:nvPr/>
        </p:nvCxnSpPr>
        <p:spPr>
          <a:xfrm flipV="1">
            <a:off x="1768477" y="805242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Přímá spojnice se šipkou 56">
            <a:extLst>
              <a:ext uri="{FF2B5EF4-FFF2-40B4-BE49-F238E27FC236}">
                <a16:creationId xmlns:a16="http://schemas.microsoft.com/office/drawing/2014/main" id="{2BDC46C6-5DD5-4213-8D28-87E6DBE1AB78}"/>
              </a:ext>
            </a:extLst>
          </p:cNvPr>
          <p:cNvCxnSpPr>
            <a:cxnSpLocks/>
          </p:cNvCxnSpPr>
          <p:nvPr/>
        </p:nvCxnSpPr>
        <p:spPr>
          <a:xfrm>
            <a:off x="1768477" y="1232044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8" name="Chart 4">
            <a:extLst>
              <a:ext uri="{FF2B5EF4-FFF2-40B4-BE49-F238E27FC236}">
                <a16:creationId xmlns:a16="http://schemas.microsoft.com/office/drawing/2014/main" id="{6AF8037E-9CEB-4EF9-871D-03B93915FF85}"/>
              </a:ext>
            </a:extLst>
          </p:cNvPr>
          <p:cNvGraphicFramePr/>
          <p:nvPr>
            <p:custDataLst>
              <p:tags r:id="rId2"/>
            </p:custDataLst>
            <p:extLst/>
          </p:nvPr>
        </p:nvGraphicFramePr>
        <p:xfrm>
          <a:off x="556549" y="280823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9" name="TextBox 6">
            <a:extLst>
              <a:ext uri="{FF2B5EF4-FFF2-40B4-BE49-F238E27FC236}">
                <a16:creationId xmlns:a16="http://schemas.microsoft.com/office/drawing/2014/main" id="{52DB9877-E0F1-4394-B7F1-2FFC02A1EF08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62" name="Přímá spojnice 61">
            <a:extLst>
              <a:ext uri="{FF2B5EF4-FFF2-40B4-BE49-F238E27FC236}">
                <a16:creationId xmlns:a16="http://schemas.microsoft.com/office/drawing/2014/main" id="{80D93A6D-177B-4185-B647-B8DF07634E10}"/>
              </a:ext>
            </a:extLst>
          </p:cNvPr>
          <p:cNvCxnSpPr>
            <a:cxnSpLocks/>
          </p:cNvCxnSpPr>
          <p:nvPr/>
        </p:nvCxnSpPr>
        <p:spPr>
          <a:xfrm>
            <a:off x="8352209" y="3753918"/>
            <a:ext cx="237744" cy="0"/>
          </a:xfrm>
          <a:prstGeom prst="line">
            <a:avLst/>
          </a:prstGeom>
          <a:ln w="38100">
            <a:solidFill>
              <a:schemeClr val="accent3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ovéPole 62">
            <a:extLst>
              <a:ext uri="{FF2B5EF4-FFF2-40B4-BE49-F238E27FC236}">
                <a16:creationId xmlns:a16="http://schemas.microsoft.com/office/drawing/2014/main" id="{618D1943-12D3-4993-BD5F-AF6C65AB8F85}"/>
              </a:ext>
            </a:extLst>
          </p:cNvPr>
          <p:cNvSpPr txBox="1"/>
          <p:nvPr/>
        </p:nvSpPr>
        <p:spPr>
          <a:xfrm>
            <a:off x="8648241" y="3571711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sp>
        <p:nvSpPr>
          <p:cNvPr id="64" name="Obdélník 63">
            <a:extLst>
              <a:ext uri="{FF2B5EF4-FFF2-40B4-BE49-F238E27FC236}">
                <a16:creationId xmlns:a16="http://schemas.microsoft.com/office/drawing/2014/main" id="{FF9D4894-4AE1-4907-A2C1-EBC6B8B4E502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+mn-cs"/>
              </a:rPr>
              <a:t>Snímek prezentuje výsledky simulace prostřednictvím epidemiologického modelu SEIRV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  <a:endParaRPr kumimoji="0" lang="cs-CZ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66" name="Obdélník 65">
            <a:extLst>
              <a:ext uri="{FF2B5EF4-FFF2-40B4-BE49-F238E27FC236}">
                <a16:creationId xmlns:a16="http://schemas.microsoft.com/office/drawing/2014/main" id="{36CCB663-0E68-4640-BF33-FA593EA32061}"/>
              </a:ext>
            </a:extLst>
          </p:cNvPr>
          <p:cNvSpPr/>
          <p:nvPr/>
        </p:nvSpPr>
        <p:spPr>
          <a:xfrm>
            <a:off x="8374852" y="3201439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7" name="TextovéPole 66">
            <a:extLst>
              <a:ext uri="{FF2B5EF4-FFF2-40B4-BE49-F238E27FC236}">
                <a16:creationId xmlns:a16="http://schemas.microsoft.com/office/drawing/2014/main" id="{029FB996-37A5-40D2-AF91-BDC4A30C0984}"/>
              </a:ext>
            </a:extLst>
          </p:cNvPr>
          <p:cNvSpPr txBox="1"/>
          <p:nvPr/>
        </p:nvSpPr>
        <p:spPr>
          <a:xfrm>
            <a:off x="8672032" y="3165671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eálná data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1. 4. 2021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68" name="Obdélník 67">
            <a:extLst>
              <a:ext uri="{FF2B5EF4-FFF2-40B4-BE49-F238E27FC236}">
                <a16:creationId xmlns:a16="http://schemas.microsoft.com/office/drawing/2014/main" id="{E6597242-CEB1-44FD-BFBE-11D4203E109C}"/>
              </a:ext>
            </a:extLst>
          </p:cNvPr>
          <p:cNvSpPr/>
          <p:nvPr/>
        </p:nvSpPr>
        <p:spPr>
          <a:xfrm>
            <a:off x="8672032" y="3867961"/>
            <a:ext cx="175721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5. 3. 2021)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5376E359-53AC-4716-97B2-ABAF6B80A34E}"/>
              </a:ext>
            </a:extLst>
          </p:cNvPr>
          <p:cNvSpPr txBox="1"/>
          <p:nvPr/>
        </p:nvSpPr>
        <p:spPr>
          <a:xfrm>
            <a:off x="8672032" y="4165659"/>
            <a:ext cx="33523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</a:t>
            </a:r>
            <a:r>
              <a:rPr kumimoji="0" lang="cs-CZ" sz="1400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Ia</a:t>
            </a:r>
            <a:endParaRPr kumimoji="0" lang="cs-CZ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8" name="Přímá spojnice 17">
            <a:extLst>
              <a:ext uri="{FF2B5EF4-FFF2-40B4-BE49-F238E27FC236}">
                <a16:creationId xmlns:a16="http://schemas.microsoft.com/office/drawing/2014/main" id="{F6111063-B439-4FD9-9FD3-4175F0D8D3BD}"/>
              </a:ext>
            </a:extLst>
          </p:cNvPr>
          <p:cNvCxnSpPr>
            <a:cxnSpLocks/>
          </p:cNvCxnSpPr>
          <p:nvPr/>
        </p:nvCxnSpPr>
        <p:spPr>
          <a:xfrm>
            <a:off x="8377287" y="4301672"/>
            <a:ext cx="237744" cy="0"/>
          </a:xfrm>
          <a:prstGeom prst="line">
            <a:avLst/>
          </a:prstGeom>
          <a:ln w="38100">
            <a:solidFill>
              <a:srgbClr val="FF66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Obdélník 18">
            <a:extLst>
              <a:ext uri="{FF2B5EF4-FFF2-40B4-BE49-F238E27FC236}">
                <a16:creationId xmlns:a16="http://schemas.microsoft.com/office/drawing/2014/main" id="{1E00F13A-C0C8-4436-A1B8-589C547BB6D3}"/>
              </a:ext>
            </a:extLst>
          </p:cNvPr>
          <p:cNvSpPr/>
          <p:nvPr/>
        </p:nvSpPr>
        <p:spPr>
          <a:xfrm>
            <a:off x="8672032" y="4446102"/>
            <a:ext cx="172515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3. 4. 2021)</a:t>
            </a: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34E638C8-29BF-4E40-BC86-1339E761E909}"/>
              </a:ext>
            </a:extLst>
          </p:cNvPr>
          <p:cNvSpPr txBox="1"/>
          <p:nvPr/>
        </p:nvSpPr>
        <p:spPr>
          <a:xfrm>
            <a:off x="2369709" y="723336"/>
            <a:ext cx="9078221" cy="369332"/>
          </a:xfrm>
          <a:prstGeom prst="rect">
            <a:avLst/>
          </a:prstGeom>
          <a:solidFill>
            <a:srgbClr val="00B050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I: významné posílení opatření z 1.3 a rychlé zpomalení epidemie – BEZ vlivu vakcinace</a:t>
            </a:r>
          </a:p>
        </p:txBody>
      </p:sp>
      <p:sp>
        <p:nvSpPr>
          <p:cNvPr id="22" name="TextovéPole 21"/>
          <p:cNvSpPr txBox="1"/>
          <p:nvPr/>
        </p:nvSpPr>
        <p:spPr>
          <a:xfrm>
            <a:off x="1169361" y="1812257"/>
            <a:ext cx="922782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kud by se rozvolnění po 12.4. 2021 promítlo do opětovného nárůstu šíření viru, bude tento efekt již částečně kompenzován pozitivním dopadem očkování. Přesto by v takovém případě byl pokles virové zátěže populace pozvolný a spíše dlouhodobý. </a:t>
            </a:r>
          </a:p>
        </p:txBody>
      </p:sp>
    </p:spTree>
    <p:extLst>
      <p:ext uri="{BB962C8B-B14F-4D97-AF65-F5344CB8AC3E}">
        <p14:creationId xmlns:p14="http://schemas.microsoft.com/office/powerpoint/2010/main" val="10976880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843938"/>
            <a:ext cx="12048654" cy="2140532"/>
          </a:xfrm>
        </p:spPr>
        <p:txBody>
          <a:bodyPr>
            <a:normAutofit lnSpcReduction="10000"/>
          </a:bodyPr>
          <a:lstStyle/>
          <a:p>
            <a:r>
              <a:rPr lang="cs-CZ" sz="5200" b="1" dirty="0" smtClean="0"/>
              <a:t>Vývoj epidemie v populačních datech</a:t>
            </a:r>
            <a:endParaRPr lang="cs-CZ" sz="5200" b="1" dirty="0"/>
          </a:p>
          <a:p>
            <a:r>
              <a:rPr lang="cs-CZ" sz="4000" i="1" dirty="0" smtClean="0"/>
              <a:t>Modely doplněné o reálné počty zachycených případů</a:t>
            </a:r>
          </a:p>
          <a:p>
            <a:r>
              <a:rPr lang="cs-CZ" sz="4000" i="1" dirty="0" smtClean="0"/>
              <a:t>(uzavřené hodnocení k </a:t>
            </a:r>
            <a:r>
              <a:rPr lang="cs-CZ" sz="4000" i="1" dirty="0" smtClean="0"/>
              <a:t>24. </a:t>
            </a:r>
            <a:r>
              <a:rPr lang="cs-CZ" sz="4000" i="1" dirty="0" smtClean="0"/>
              <a:t>4. 2021)</a:t>
            </a:r>
            <a:endParaRPr lang="cs-CZ" sz="4000" i="1" dirty="0"/>
          </a:p>
        </p:txBody>
      </p:sp>
    </p:spTree>
    <p:extLst>
      <p:ext uri="{BB962C8B-B14F-4D97-AF65-F5344CB8AC3E}">
        <p14:creationId xmlns:p14="http://schemas.microsoft.com/office/powerpoint/2010/main" val="222973982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2400" dirty="0"/>
              <a:t>Scénáře dlouhodobých simulací z 5.3. 2021</a:t>
            </a:r>
            <a:endParaRPr lang="cs-CZ" sz="2400" dirty="0">
              <a:latin typeface="+mj-lt"/>
            </a:endParaRPr>
          </a:p>
        </p:txBody>
      </p:sp>
      <p:graphicFrame>
        <p:nvGraphicFramePr>
          <p:cNvPr id="58" name="Chart 4">
            <a:extLst>
              <a:ext uri="{FF2B5EF4-FFF2-40B4-BE49-F238E27FC236}">
                <a16:creationId xmlns:a16="http://schemas.microsoft.com/office/drawing/2014/main" id="{6AF8037E-9CEB-4EF9-871D-03B93915FF85}"/>
              </a:ext>
            </a:extLst>
          </p:cNvPr>
          <p:cNvGraphicFramePr/>
          <p:nvPr>
            <p:custDataLst>
              <p:tags r:id="rId1"/>
            </p:custDataLst>
            <p:extLst/>
          </p:nvPr>
        </p:nvGraphicFramePr>
        <p:xfrm>
          <a:off x="556549" y="280823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9" name="TextBox 6">
            <a:extLst>
              <a:ext uri="{FF2B5EF4-FFF2-40B4-BE49-F238E27FC236}">
                <a16:creationId xmlns:a16="http://schemas.microsoft.com/office/drawing/2014/main" id="{52DB9877-E0F1-4394-B7F1-2FFC02A1EF08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62" name="Přímá spojnice 61">
            <a:extLst>
              <a:ext uri="{FF2B5EF4-FFF2-40B4-BE49-F238E27FC236}">
                <a16:creationId xmlns:a16="http://schemas.microsoft.com/office/drawing/2014/main" id="{80D93A6D-177B-4185-B647-B8DF07634E10}"/>
              </a:ext>
            </a:extLst>
          </p:cNvPr>
          <p:cNvCxnSpPr>
            <a:cxnSpLocks/>
          </p:cNvCxnSpPr>
          <p:nvPr/>
        </p:nvCxnSpPr>
        <p:spPr>
          <a:xfrm>
            <a:off x="8097533" y="3619548"/>
            <a:ext cx="237744" cy="0"/>
          </a:xfrm>
          <a:prstGeom prst="line">
            <a:avLst/>
          </a:prstGeom>
          <a:ln w="38100">
            <a:solidFill>
              <a:schemeClr val="accent3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ovéPole 62">
            <a:extLst>
              <a:ext uri="{FF2B5EF4-FFF2-40B4-BE49-F238E27FC236}">
                <a16:creationId xmlns:a16="http://schemas.microsoft.com/office/drawing/2014/main" id="{618D1943-12D3-4993-BD5F-AF6C65AB8F85}"/>
              </a:ext>
            </a:extLst>
          </p:cNvPr>
          <p:cNvSpPr txBox="1"/>
          <p:nvPr/>
        </p:nvSpPr>
        <p:spPr>
          <a:xfrm>
            <a:off x="8393565" y="3437341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sp>
        <p:nvSpPr>
          <p:cNvPr id="64" name="Obdélník 63">
            <a:extLst>
              <a:ext uri="{FF2B5EF4-FFF2-40B4-BE49-F238E27FC236}">
                <a16:creationId xmlns:a16="http://schemas.microsoft.com/office/drawing/2014/main" id="{FF9D4894-4AE1-4907-A2C1-EBC6B8B4E502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+mn-cs"/>
              </a:rPr>
              <a:t>Snímek prezentuje výsledky simulace prostřednictvím epidemiologického modelu SEIRV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  <a:endParaRPr kumimoji="0" lang="cs-CZ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66" name="Obdélník 65">
            <a:extLst>
              <a:ext uri="{FF2B5EF4-FFF2-40B4-BE49-F238E27FC236}">
                <a16:creationId xmlns:a16="http://schemas.microsoft.com/office/drawing/2014/main" id="{36CCB663-0E68-4640-BF33-FA593EA32061}"/>
              </a:ext>
            </a:extLst>
          </p:cNvPr>
          <p:cNvSpPr/>
          <p:nvPr/>
        </p:nvSpPr>
        <p:spPr>
          <a:xfrm>
            <a:off x="8120176" y="3067069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7" name="TextovéPole 66">
            <a:extLst>
              <a:ext uri="{FF2B5EF4-FFF2-40B4-BE49-F238E27FC236}">
                <a16:creationId xmlns:a16="http://schemas.microsoft.com/office/drawing/2014/main" id="{029FB996-37A5-40D2-AF91-BDC4A30C0984}"/>
              </a:ext>
            </a:extLst>
          </p:cNvPr>
          <p:cNvSpPr txBox="1"/>
          <p:nvPr/>
        </p:nvSpPr>
        <p:spPr>
          <a:xfrm>
            <a:off x="8417356" y="3031301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eálná data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1. 4. 2021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68" name="Obdélník 67">
            <a:extLst>
              <a:ext uri="{FF2B5EF4-FFF2-40B4-BE49-F238E27FC236}">
                <a16:creationId xmlns:a16="http://schemas.microsoft.com/office/drawing/2014/main" id="{E6597242-CEB1-44FD-BFBE-11D4203E109C}"/>
              </a:ext>
            </a:extLst>
          </p:cNvPr>
          <p:cNvSpPr/>
          <p:nvPr/>
        </p:nvSpPr>
        <p:spPr>
          <a:xfrm>
            <a:off x="8417356" y="3733591"/>
            <a:ext cx="175721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5. 3. 2021)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5376E359-53AC-4716-97B2-ABAF6B80A34E}"/>
              </a:ext>
            </a:extLst>
          </p:cNvPr>
          <p:cNvSpPr txBox="1"/>
          <p:nvPr/>
        </p:nvSpPr>
        <p:spPr>
          <a:xfrm>
            <a:off x="8417356" y="4031289"/>
            <a:ext cx="33523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</a:t>
            </a:r>
            <a:r>
              <a:rPr kumimoji="0" lang="cs-CZ" sz="1400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Ib</a:t>
            </a:r>
            <a:endParaRPr kumimoji="0" lang="cs-CZ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8" name="Přímá spojnice 17">
            <a:extLst>
              <a:ext uri="{FF2B5EF4-FFF2-40B4-BE49-F238E27FC236}">
                <a16:creationId xmlns:a16="http://schemas.microsoft.com/office/drawing/2014/main" id="{F6111063-B439-4FD9-9FD3-4175F0D8D3BD}"/>
              </a:ext>
            </a:extLst>
          </p:cNvPr>
          <p:cNvCxnSpPr>
            <a:cxnSpLocks/>
          </p:cNvCxnSpPr>
          <p:nvPr/>
        </p:nvCxnSpPr>
        <p:spPr>
          <a:xfrm>
            <a:off x="8122611" y="4167302"/>
            <a:ext cx="237744" cy="0"/>
          </a:xfrm>
          <a:prstGeom prst="line">
            <a:avLst/>
          </a:prstGeom>
          <a:ln w="38100">
            <a:solidFill>
              <a:srgbClr val="FF66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Obdélník 18">
            <a:extLst>
              <a:ext uri="{FF2B5EF4-FFF2-40B4-BE49-F238E27FC236}">
                <a16:creationId xmlns:a16="http://schemas.microsoft.com/office/drawing/2014/main" id="{1E00F13A-C0C8-4436-A1B8-589C547BB6D3}"/>
              </a:ext>
            </a:extLst>
          </p:cNvPr>
          <p:cNvSpPr/>
          <p:nvPr/>
        </p:nvSpPr>
        <p:spPr>
          <a:xfrm>
            <a:off x="8417356" y="4311732"/>
            <a:ext cx="172515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3. 4. 2021)</a:t>
            </a: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D4CEFD9C-3B06-416C-AB13-5153476AA83F}"/>
              </a:ext>
            </a:extLst>
          </p:cNvPr>
          <p:cNvSpPr txBox="1"/>
          <p:nvPr/>
        </p:nvSpPr>
        <p:spPr>
          <a:xfrm>
            <a:off x="19726" y="947211"/>
            <a:ext cx="126206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</a:t>
            </a:r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B465D225-9F63-4054-8EF6-ACEB098FE1B3}"/>
              </a:ext>
            </a:extLst>
          </p:cNvPr>
          <p:cNvSpPr txBox="1"/>
          <p:nvPr/>
        </p:nvSpPr>
        <p:spPr>
          <a:xfrm>
            <a:off x="1960384" y="1234899"/>
            <a:ext cx="9809321" cy="369332"/>
          </a:xfrm>
          <a:prstGeom prst="rect">
            <a:avLst/>
          </a:prstGeom>
          <a:solidFill>
            <a:srgbClr val="FF6600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</a:t>
            </a:r>
            <a:r>
              <a:rPr kumimoji="0" lang="cs-CZ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Ib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rozvolnění v dubnu se významně neprojeví + rychlý efekt vakcinace </a:t>
            </a:r>
          </a:p>
        </p:txBody>
      </p:sp>
      <p:cxnSp>
        <p:nvCxnSpPr>
          <p:cNvPr id="23" name="Přímá spojnice se šipkou 22">
            <a:extLst>
              <a:ext uri="{FF2B5EF4-FFF2-40B4-BE49-F238E27FC236}">
                <a16:creationId xmlns:a16="http://schemas.microsoft.com/office/drawing/2014/main" id="{50DE1626-F284-4D84-BDAB-EF119447AE2F}"/>
              </a:ext>
            </a:extLst>
          </p:cNvPr>
          <p:cNvCxnSpPr>
            <a:cxnSpLocks/>
          </p:cNvCxnSpPr>
          <p:nvPr/>
        </p:nvCxnSpPr>
        <p:spPr>
          <a:xfrm flipV="1">
            <a:off x="1359152" y="804322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Přímá spojnice se šipkou 23">
            <a:extLst>
              <a:ext uri="{FF2B5EF4-FFF2-40B4-BE49-F238E27FC236}">
                <a16:creationId xmlns:a16="http://schemas.microsoft.com/office/drawing/2014/main" id="{2BDC46C6-5DD5-4213-8D28-87E6DBE1AB78}"/>
              </a:ext>
            </a:extLst>
          </p:cNvPr>
          <p:cNvCxnSpPr>
            <a:cxnSpLocks/>
          </p:cNvCxnSpPr>
          <p:nvPr/>
        </p:nvCxnSpPr>
        <p:spPr>
          <a:xfrm>
            <a:off x="1359152" y="1231124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34E638C8-29BF-4E40-BC86-1339E761E909}"/>
              </a:ext>
            </a:extLst>
          </p:cNvPr>
          <p:cNvSpPr txBox="1"/>
          <p:nvPr/>
        </p:nvSpPr>
        <p:spPr>
          <a:xfrm>
            <a:off x="1960384" y="722416"/>
            <a:ext cx="9809321" cy="369332"/>
          </a:xfrm>
          <a:prstGeom prst="rect">
            <a:avLst/>
          </a:prstGeom>
          <a:solidFill>
            <a:srgbClr val="00B050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I: významné posílení opatření z 1.3 a rychle zpomalení epidemie – BEZ vlivu vakcinace</a:t>
            </a:r>
          </a:p>
        </p:txBody>
      </p:sp>
      <p:sp>
        <p:nvSpPr>
          <p:cNvPr id="26" name="TextovéPole 25"/>
          <p:cNvSpPr txBox="1"/>
          <p:nvPr/>
        </p:nvSpPr>
        <p:spPr>
          <a:xfrm>
            <a:off x="1146003" y="1838507"/>
            <a:ext cx="922782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énář </a:t>
            </a:r>
            <a:r>
              <a:rPr kumimoji="0" lang="cs-CZ" sz="18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Ib</a:t>
            </a: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ředpokládá uvážené a pozvolné uvolňování opatření v dubnu, bez významného dopadu na šíření nákazy. V tomto případě lze očekávat zrychlený pokles zátěže populace i vlivem postupujícího očkování. </a:t>
            </a:r>
          </a:p>
        </p:txBody>
      </p:sp>
    </p:spTree>
    <p:extLst>
      <p:ext uri="{BB962C8B-B14F-4D97-AF65-F5344CB8AC3E}">
        <p14:creationId xmlns:p14="http://schemas.microsoft.com/office/powerpoint/2010/main" val="351201278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3346" y="3693109"/>
            <a:ext cx="11905307" cy="2140532"/>
          </a:xfrm>
        </p:spPr>
        <p:txBody>
          <a:bodyPr>
            <a:normAutofit/>
          </a:bodyPr>
          <a:lstStyle/>
          <a:p>
            <a:r>
              <a:rPr lang="cs-CZ" sz="5200" b="1" dirty="0"/>
              <a:t>Krátkodobé predikce zátěže nemocnic</a:t>
            </a:r>
          </a:p>
          <a:p>
            <a:r>
              <a:rPr lang="cs-CZ" sz="3600" i="1" dirty="0"/>
              <a:t>Verifikace modelů </a:t>
            </a:r>
            <a:r>
              <a:rPr lang="cs-CZ" sz="3600" i="1" dirty="0" smtClean="0"/>
              <a:t>nastavených na počátku března 2021 </a:t>
            </a:r>
            <a:endParaRPr lang="cs-CZ" sz="3600" i="1" dirty="0"/>
          </a:p>
        </p:txBody>
      </p:sp>
    </p:spTree>
    <p:extLst>
      <p:ext uri="{BB962C8B-B14F-4D97-AF65-F5344CB8AC3E}">
        <p14:creationId xmlns:p14="http://schemas.microsoft.com/office/powerpoint/2010/main" val="278680159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98660" y="103163"/>
            <a:ext cx="11537512" cy="1951268"/>
          </a:xfrm>
        </p:spPr>
        <p:txBody>
          <a:bodyPr>
            <a:normAutofit lnSpcReduction="10000"/>
          </a:bodyPr>
          <a:lstStyle/>
          <a:p>
            <a:r>
              <a:rPr lang="cs-CZ" sz="3600" b="1" dirty="0" smtClean="0"/>
              <a:t>Ve shodě s dlouhodobými predikcemi došlo </a:t>
            </a:r>
          </a:p>
          <a:p>
            <a:r>
              <a:rPr lang="cs-CZ" sz="3600" b="1" dirty="0" smtClean="0"/>
              <a:t>v 2. polovině </a:t>
            </a:r>
            <a:r>
              <a:rPr lang="cs-CZ" sz="3600" b="1" dirty="0" smtClean="0"/>
              <a:t>dubna </a:t>
            </a:r>
            <a:r>
              <a:rPr lang="cs-CZ" sz="3600" b="1" dirty="0" smtClean="0"/>
              <a:t>k </a:t>
            </a:r>
            <a:r>
              <a:rPr lang="cs-CZ" sz="3600" b="1" dirty="0" smtClean="0"/>
              <a:t>významnému poklesu </a:t>
            </a:r>
            <a:r>
              <a:rPr lang="cs-CZ" sz="3600" b="1" dirty="0" smtClean="0"/>
              <a:t>počtu</a:t>
            </a:r>
          </a:p>
          <a:p>
            <a:r>
              <a:rPr lang="cs-CZ" sz="3600" b="1" dirty="0" smtClean="0"/>
              <a:t> hospitalizovaných </a:t>
            </a:r>
            <a:endParaRPr lang="cs-CZ" sz="3600" b="1" dirty="0"/>
          </a:p>
        </p:txBody>
      </p:sp>
      <p:sp>
        <p:nvSpPr>
          <p:cNvPr id="5" name="TextovéPole 4"/>
          <p:cNvSpPr txBox="1"/>
          <p:nvPr/>
        </p:nvSpPr>
        <p:spPr>
          <a:xfrm>
            <a:off x="157740" y="2905066"/>
            <a:ext cx="11619345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ktuální vývoj sleduje pokles odpovídající zpomalování šíření epidemie v populaci při reprodukčním číslu &lt; 0,80. Počty hospitalizací tak reagují se zpožděním cca 7 - 10 dnů na změnu v populačních trendech; nadále lze předpokládat další významný pokles. Počty pacientů vyžadující intenzivní péči klesají relativně pomaleji než počty na standardním lůžku. </a:t>
            </a: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Šipka dolů 8"/>
          <p:cNvSpPr/>
          <p:nvPr/>
        </p:nvSpPr>
        <p:spPr>
          <a:xfrm>
            <a:off x="5221413" y="2054431"/>
            <a:ext cx="1246909" cy="523206"/>
          </a:xfrm>
          <a:prstGeom prst="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Šipka dolů 5"/>
          <p:cNvSpPr/>
          <p:nvPr/>
        </p:nvSpPr>
        <p:spPr>
          <a:xfrm>
            <a:off x="5221413" y="6017880"/>
            <a:ext cx="1246909" cy="523206"/>
          </a:xfrm>
          <a:prstGeom prst="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5225497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Table 26">
            <a:extLst>
              <a:ext uri="{FF2B5EF4-FFF2-40B4-BE49-F238E27FC236}">
                <a16:creationId xmlns:a16="http://schemas.microsoft.com/office/drawing/2014/main" id="{5342EFFE-9D22-45B6-882F-FA56B475A5B1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/>
          </p:nvPr>
        </p:nvGraphicFramePr>
        <p:xfrm>
          <a:off x="1752600" y="1803094"/>
          <a:ext cx="8686800" cy="29527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65200">
                  <a:extLst>
                    <a:ext uri="{9D8B030D-6E8A-4147-A177-3AD203B41FA5}">
                      <a16:colId xmlns:a16="http://schemas.microsoft.com/office/drawing/2014/main" val="1966621201"/>
                    </a:ext>
                  </a:extLst>
                </a:gridCol>
                <a:gridCol w="965200">
                  <a:extLst>
                    <a:ext uri="{9D8B030D-6E8A-4147-A177-3AD203B41FA5}">
                      <a16:colId xmlns:a16="http://schemas.microsoft.com/office/drawing/2014/main" val="1040813184"/>
                    </a:ext>
                  </a:extLst>
                </a:gridCol>
                <a:gridCol w="965200">
                  <a:extLst>
                    <a:ext uri="{9D8B030D-6E8A-4147-A177-3AD203B41FA5}">
                      <a16:colId xmlns:a16="http://schemas.microsoft.com/office/drawing/2014/main" val="3789941820"/>
                    </a:ext>
                  </a:extLst>
                </a:gridCol>
                <a:gridCol w="965200">
                  <a:extLst>
                    <a:ext uri="{9D8B030D-6E8A-4147-A177-3AD203B41FA5}">
                      <a16:colId xmlns:a16="http://schemas.microsoft.com/office/drawing/2014/main" val="1495837641"/>
                    </a:ext>
                  </a:extLst>
                </a:gridCol>
                <a:gridCol w="965200">
                  <a:extLst>
                    <a:ext uri="{9D8B030D-6E8A-4147-A177-3AD203B41FA5}">
                      <a16:colId xmlns:a16="http://schemas.microsoft.com/office/drawing/2014/main" val="3114857008"/>
                    </a:ext>
                  </a:extLst>
                </a:gridCol>
                <a:gridCol w="965200">
                  <a:extLst>
                    <a:ext uri="{9D8B030D-6E8A-4147-A177-3AD203B41FA5}">
                      <a16:colId xmlns:a16="http://schemas.microsoft.com/office/drawing/2014/main" val="1459727011"/>
                    </a:ext>
                  </a:extLst>
                </a:gridCol>
                <a:gridCol w="965200">
                  <a:extLst>
                    <a:ext uri="{9D8B030D-6E8A-4147-A177-3AD203B41FA5}">
                      <a16:colId xmlns:a16="http://schemas.microsoft.com/office/drawing/2014/main" val="849197921"/>
                    </a:ext>
                  </a:extLst>
                </a:gridCol>
                <a:gridCol w="965200">
                  <a:extLst>
                    <a:ext uri="{9D8B030D-6E8A-4147-A177-3AD203B41FA5}">
                      <a16:colId xmlns:a16="http://schemas.microsoft.com/office/drawing/2014/main" val="1687465303"/>
                    </a:ext>
                  </a:extLst>
                </a:gridCol>
                <a:gridCol w="965200">
                  <a:extLst>
                    <a:ext uri="{9D8B030D-6E8A-4147-A177-3AD203B41FA5}">
                      <a16:colId xmlns:a16="http://schemas.microsoft.com/office/drawing/2014/main" val="1588458930"/>
                    </a:ext>
                  </a:extLst>
                </a:gridCol>
              </a:tblGrid>
              <a:tr h="29527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7.5%</a:t>
                      </a:r>
                    </a:p>
                  </a:txBody>
                  <a:tcPr marL="9525" marR="9525" marT="9525" marB="0" anchor="ctr">
                    <a:solidFill>
                      <a:srgbClr val="9E0D3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2.3%</a:t>
                      </a:r>
                    </a:p>
                  </a:txBody>
                  <a:tcPr marL="9525" marR="9525" marT="9525" marB="0" anchor="ctr">
                    <a:solidFill>
                      <a:srgbClr val="9E0D3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3.4%</a:t>
                      </a:r>
                    </a:p>
                  </a:txBody>
                  <a:tcPr marL="9525" marR="9525" marT="9525" marB="0" anchor="ctr">
                    <a:solidFill>
                      <a:srgbClr val="9E0D3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2.4%</a:t>
                      </a:r>
                    </a:p>
                  </a:txBody>
                  <a:tcPr marL="9525" marR="9525" marT="9525" marB="0" anchor="ctr">
                    <a:solidFill>
                      <a:srgbClr val="9E0D3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1.5%</a:t>
                      </a:r>
                    </a:p>
                  </a:txBody>
                  <a:tcPr marL="9525" marR="9525" marT="9525" marB="0" anchor="ctr">
                    <a:solidFill>
                      <a:srgbClr val="9E0D3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3319425"/>
                  </a:ext>
                </a:extLst>
              </a:tr>
            </a:tbl>
          </a:graphicData>
        </a:graphic>
      </p:graphicFrame>
      <p:graphicFrame>
        <p:nvGraphicFramePr>
          <p:cNvPr id="39" name="Table 38">
            <a:extLst>
              <a:ext uri="{FF2B5EF4-FFF2-40B4-BE49-F238E27FC236}">
                <a16:creationId xmlns:a16="http://schemas.microsoft.com/office/drawing/2014/main" id="{ACCF1F24-2217-430F-8189-B151BC42AD4F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/>
          </p:nvPr>
        </p:nvGraphicFramePr>
        <p:xfrm>
          <a:off x="197157" y="1432948"/>
          <a:ext cx="11797686" cy="29527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66281">
                  <a:extLst>
                    <a:ext uri="{9D8B030D-6E8A-4147-A177-3AD203B41FA5}">
                      <a16:colId xmlns:a16="http://schemas.microsoft.com/office/drawing/2014/main" val="2706301777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413077620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2872917988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2921272003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424978856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2927375975"/>
                    </a:ext>
                  </a:extLst>
                </a:gridCol>
              </a:tblGrid>
              <a:tr h="29527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948 hospitalizací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274 hospitalizací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260 hospitalizací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286 hospitalizací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878 hospitalizací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29 hospitalizací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046660"/>
                  </a:ext>
                </a:extLst>
              </a:tr>
            </a:tbl>
          </a:graphicData>
        </a:graphic>
      </p:graphicFrame>
      <p:graphicFrame>
        <p:nvGraphicFramePr>
          <p:cNvPr id="25" name="Chart 11">
            <a:extLst>
              <a:ext uri="{FF2B5EF4-FFF2-40B4-BE49-F238E27FC236}">
                <a16:creationId xmlns:a16="http://schemas.microsoft.com/office/drawing/2014/main" id="{EA3CCBD1-AEEF-4E73-9642-52A33E59AE64}"/>
              </a:ext>
            </a:extLst>
          </p:cNvPr>
          <p:cNvGraphicFramePr/>
          <p:nvPr>
            <p:custDataLst>
              <p:tags r:id="rId3"/>
            </p:custDataLst>
            <p:extLst/>
          </p:nvPr>
        </p:nvGraphicFramePr>
        <p:xfrm>
          <a:off x="386622" y="2628899"/>
          <a:ext cx="11805378" cy="42291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10" name="TextBox 14">
            <a:extLst>
              <a:ext uri="{FF2B5EF4-FFF2-40B4-BE49-F238E27FC236}">
                <a16:creationId xmlns:a16="http://schemas.microsoft.com/office/drawing/2014/main" id="{5A11BCFC-49AD-487D-BBB2-8BDDECE7C06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 rot="16200000">
            <a:off x="-1140141" y="4287824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 počet pacientů</a:t>
            </a:r>
          </a:p>
        </p:txBody>
      </p:sp>
      <p:sp>
        <p:nvSpPr>
          <p:cNvPr id="23" name="TextovéPole 22"/>
          <p:cNvSpPr txBox="1"/>
          <p:nvPr/>
        </p:nvSpPr>
        <p:spPr>
          <a:xfrm>
            <a:off x="381739" y="94911"/>
            <a:ext cx="1137535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týdenním srovnání počty hospitalizací </a:t>
            </a:r>
            <a:r>
              <a:rPr kumimoji="0" lang="en-US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</a:t>
            </a: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R </a:t>
            </a:r>
            <a:r>
              <a:rPr kumimoji="0" lang="cs-CZ" sz="30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lesají</a:t>
            </a:r>
          </a:p>
        </p:txBody>
      </p:sp>
      <p:sp>
        <p:nvSpPr>
          <p:cNvPr id="28" name="Zahnutá šipka nahoru 25">
            <a:extLst>
              <a:ext uri="{FF2B5EF4-FFF2-40B4-BE49-F238E27FC236}">
                <a16:creationId xmlns:a16="http://schemas.microsoft.com/office/drawing/2014/main" id="{E359B7D7-130C-4173-9EFC-47F321C82F4E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203450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Zahnutá šipka nahoru 25">
            <a:extLst>
              <a:ext uri="{FF2B5EF4-FFF2-40B4-BE49-F238E27FC236}">
                <a16:creationId xmlns:a16="http://schemas.microsoft.com/office/drawing/2014/main" id="{77962815-283B-44A7-A845-1BB5AFDAE33D}"/>
              </a:ext>
            </a:extLst>
          </p:cNvPr>
          <p:cNvSpPr/>
          <p:nvPr/>
        </p:nvSpPr>
        <p:spPr>
          <a:xfrm>
            <a:off x="3172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" name="Zahnutá šipka nahoru 25">
            <a:extLst>
              <a:ext uri="{FF2B5EF4-FFF2-40B4-BE49-F238E27FC236}">
                <a16:creationId xmlns:a16="http://schemas.microsoft.com/office/drawing/2014/main" id="{900DBD3A-25FF-44DB-9A70-41A63B98A098}"/>
              </a:ext>
            </a:extLst>
          </p:cNvPr>
          <p:cNvSpPr/>
          <p:nvPr/>
        </p:nvSpPr>
        <p:spPr>
          <a:xfrm>
            <a:off x="5116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Zahnutá šipka nahoru 25">
            <a:extLst>
              <a:ext uri="{FF2B5EF4-FFF2-40B4-BE49-F238E27FC236}">
                <a16:creationId xmlns:a16="http://schemas.microsoft.com/office/drawing/2014/main" id="{8BC9AE2D-ED68-40C1-9F08-DFCD52A3016B}"/>
              </a:ext>
            </a:extLst>
          </p:cNvPr>
          <p:cNvSpPr/>
          <p:nvPr/>
        </p:nvSpPr>
        <p:spPr>
          <a:xfrm>
            <a:off x="7086280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Zahnutá šipka nahoru 25">
            <a:extLst>
              <a:ext uri="{FF2B5EF4-FFF2-40B4-BE49-F238E27FC236}">
                <a16:creationId xmlns:a16="http://schemas.microsoft.com/office/drawing/2014/main" id="{64D205E5-DBC4-422A-BF09-BCA621280F66}"/>
              </a:ext>
            </a:extLst>
          </p:cNvPr>
          <p:cNvSpPr/>
          <p:nvPr/>
        </p:nvSpPr>
        <p:spPr>
          <a:xfrm>
            <a:off x="9056914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26" name="Skupina 25">
            <a:extLst>
              <a:ext uri="{FF2B5EF4-FFF2-40B4-BE49-F238E27FC236}">
                <a16:creationId xmlns:a16="http://schemas.microsoft.com/office/drawing/2014/main" id="{CA40C928-143B-4896-AF7B-D4BD5932C134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0118BD85-0615-4F73-A73D-0924A20B44F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Přímá spojnice 31">
              <a:extLst>
                <a:ext uri="{FF2B5EF4-FFF2-40B4-BE49-F238E27FC236}">
                  <a16:creationId xmlns:a16="http://schemas.microsoft.com/office/drawing/2014/main" id="{464A0DF9-2D74-4995-B4F0-4AB553D3AB9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" name="Obdélník 34">
              <a:extLst>
                <a:ext uri="{FF2B5EF4-FFF2-40B4-BE49-F238E27FC236}">
                  <a16:creationId xmlns:a16="http://schemas.microsoft.com/office/drawing/2014/main" id="{BDB9DB8F-062F-440A-92BC-D2FD34C150F4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TextovéPole 28">
              <a:extLst>
                <a:ext uri="{FF2B5EF4-FFF2-40B4-BE49-F238E27FC236}">
                  <a16:creationId xmlns:a16="http://schemas.microsoft.com/office/drawing/2014/main" id="{71966B87-6F6D-4EA4-B350-25CE639C641C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9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8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7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aximální počet pacientů s COVID-19 na lůžkách za období říjen/listopad 2020</a:t>
              </a:r>
              <a:endPara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EE3225F5-AE2B-4264-8B98-29C6B37DCBE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Přímá spojnice 37">
              <a:extLst>
                <a:ext uri="{FF2B5EF4-FFF2-40B4-BE49-F238E27FC236}">
                  <a16:creationId xmlns:a16="http://schemas.microsoft.com/office/drawing/2014/main" id="{A5F8663C-1368-47B1-9212-E56B102300A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9" name="Přímá spojnice 18"/>
          <p:cNvCxnSpPr/>
          <p:nvPr>
            <p:custDataLst>
              <p:tags r:id="rId7"/>
            </p:custDataLst>
          </p:nvPr>
        </p:nvCxnSpPr>
        <p:spPr>
          <a:xfrm flipH="1" flipV="1">
            <a:off x="1101851" y="5135420"/>
            <a:ext cx="8559387" cy="36946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4" name="Tabulka 8">
            <a:extLst>
              <a:ext uri="{FF2B5EF4-FFF2-40B4-BE49-F238E27FC236}">
                <a16:creationId xmlns:a16="http://schemas.microsoft.com/office/drawing/2014/main" id="{481B8CF2-DE86-46EA-8A60-4B0BD851DE93}"/>
              </a:ext>
            </a:extLst>
          </p:cNvPr>
          <p:cNvGraphicFramePr>
            <a:graphicFrameLocks noGrp="1"/>
          </p:cNvGraphicFramePr>
          <p:nvPr>
            <p:custDataLst>
              <p:tags r:id="rId8"/>
            </p:custDataLst>
            <p:extLst/>
          </p:nvPr>
        </p:nvGraphicFramePr>
        <p:xfrm>
          <a:off x="146287" y="662469"/>
          <a:ext cx="11797686" cy="741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66281">
                  <a:extLst>
                    <a:ext uri="{9D8B030D-6E8A-4147-A177-3AD203B41FA5}">
                      <a16:colId xmlns:a16="http://schemas.microsoft.com/office/drawing/2014/main" val="3924625702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1669069357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462042178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4284827979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640797798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52957255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</a:t>
                      </a:r>
                      <a:r>
                        <a:rPr lang="en-US" sz="16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av</a:t>
                      </a:r>
                      <a:endParaRPr lang="cs-CZ" sz="16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</a:t>
                      </a:r>
                      <a:r>
                        <a:rPr lang="en-US" sz="16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av</a:t>
                      </a:r>
                      <a:endParaRPr lang="cs-CZ" sz="16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</a:t>
                      </a:r>
                      <a:r>
                        <a:rPr lang="en-US" sz="16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av</a:t>
                      </a:r>
                      <a:endParaRPr lang="cs-CZ" sz="16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</a:t>
                      </a:r>
                      <a:r>
                        <a:rPr lang="en-US" sz="16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av</a:t>
                      </a:r>
                      <a:endParaRPr lang="cs-CZ" sz="16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</a:t>
                      </a:r>
                      <a:r>
                        <a:rPr lang="en-US" sz="16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av</a:t>
                      </a:r>
                      <a:endParaRPr lang="cs-CZ" sz="16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</a:t>
                      </a:r>
                      <a:r>
                        <a:rPr lang="en-US" sz="16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av</a:t>
                      </a:r>
                      <a:endParaRPr lang="cs-CZ" sz="16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10693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3.–</a:t>
                      </a:r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0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3. </a:t>
                      </a:r>
                    </a:p>
                  </a:txBody>
                  <a:tcPr marL="6350" marR="6350" marT="635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1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3.–2</a:t>
                      </a:r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7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3. </a:t>
                      </a:r>
                    </a:p>
                  </a:txBody>
                  <a:tcPr marL="6350" marR="6350" marT="635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3.–</a:t>
                      </a:r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</a:t>
                      </a:r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</a:t>
                      </a:r>
                    </a:p>
                  </a:txBody>
                  <a:tcPr marL="6350" marR="6350" marT="635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4.–</a:t>
                      </a:r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0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4. </a:t>
                      </a:r>
                    </a:p>
                  </a:txBody>
                  <a:tcPr marL="6350" marR="6350" marT="635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4.–1</a:t>
                      </a:r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7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4. </a:t>
                      </a:r>
                    </a:p>
                  </a:txBody>
                  <a:tcPr marL="6350" marR="6350" marT="635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4.–2</a:t>
                      </a:r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4. </a:t>
                      </a:r>
                    </a:p>
                  </a:txBody>
                  <a:tcPr marL="6350" marR="6350" marT="635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26688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7297065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Table 21">
            <a:extLst>
              <a:ext uri="{FF2B5EF4-FFF2-40B4-BE49-F238E27FC236}">
                <a16:creationId xmlns:a16="http://schemas.microsoft.com/office/drawing/2014/main" id="{F38BA061-C1BF-42B4-A8D3-E06E54106025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/>
          </p:nvPr>
        </p:nvGraphicFramePr>
        <p:xfrm>
          <a:off x="1752600" y="1803094"/>
          <a:ext cx="8686800" cy="29527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65200">
                  <a:extLst>
                    <a:ext uri="{9D8B030D-6E8A-4147-A177-3AD203B41FA5}">
                      <a16:colId xmlns:a16="http://schemas.microsoft.com/office/drawing/2014/main" val="1966621201"/>
                    </a:ext>
                  </a:extLst>
                </a:gridCol>
                <a:gridCol w="965200">
                  <a:extLst>
                    <a:ext uri="{9D8B030D-6E8A-4147-A177-3AD203B41FA5}">
                      <a16:colId xmlns:a16="http://schemas.microsoft.com/office/drawing/2014/main" val="1040813184"/>
                    </a:ext>
                  </a:extLst>
                </a:gridCol>
                <a:gridCol w="965200">
                  <a:extLst>
                    <a:ext uri="{9D8B030D-6E8A-4147-A177-3AD203B41FA5}">
                      <a16:colId xmlns:a16="http://schemas.microsoft.com/office/drawing/2014/main" val="3789941820"/>
                    </a:ext>
                  </a:extLst>
                </a:gridCol>
                <a:gridCol w="965200">
                  <a:extLst>
                    <a:ext uri="{9D8B030D-6E8A-4147-A177-3AD203B41FA5}">
                      <a16:colId xmlns:a16="http://schemas.microsoft.com/office/drawing/2014/main" val="1495837641"/>
                    </a:ext>
                  </a:extLst>
                </a:gridCol>
                <a:gridCol w="965200">
                  <a:extLst>
                    <a:ext uri="{9D8B030D-6E8A-4147-A177-3AD203B41FA5}">
                      <a16:colId xmlns:a16="http://schemas.microsoft.com/office/drawing/2014/main" val="3114857008"/>
                    </a:ext>
                  </a:extLst>
                </a:gridCol>
                <a:gridCol w="965200">
                  <a:extLst>
                    <a:ext uri="{9D8B030D-6E8A-4147-A177-3AD203B41FA5}">
                      <a16:colId xmlns:a16="http://schemas.microsoft.com/office/drawing/2014/main" val="1459727011"/>
                    </a:ext>
                  </a:extLst>
                </a:gridCol>
                <a:gridCol w="965200">
                  <a:extLst>
                    <a:ext uri="{9D8B030D-6E8A-4147-A177-3AD203B41FA5}">
                      <a16:colId xmlns:a16="http://schemas.microsoft.com/office/drawing/2014/main" val="849197921"/>
                    </a:ext>
                  </a:extLst>
                </a:gridCol>
                <a:gridCol w="965200">
                  <a:extLst>
                    <a:ext uri="{9D8B030D-6E8A-4147-A177-3AD203B41FA5}">
                      <a16:colId xmlns:a16="http://schemas.microsoft.com/office/drawing/2014/main" val="1687465303"/>
                    </a:ext>
                  </a:extLst>
                </a:gridCol>
                <a:gridCol w="965200">
                  <a:extLst>
                    <a:ext uri="{9D8B030D-6E8A-4147-A177-3AD203B41FA5}">
                      <a16:colId xmlns:a16="http://schemas.microsoft.com/office/drawing/2014/main" val="1588458930"/>
                    </a:ext>
                  </a:extLst>
                </a:gridCol>
              </a:tblGrid>
              <a:tr h="29527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5.4%</a:t>
                      </a:r>
                    </a:p>
                  </a:txBody>
                  <a:tcPr marL="9525" marR="9525" marT="9525" marB="0" anchor="ctr">
                    <a:solidFill>
                      <a:srgbClr val="9E0D3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1.3%</a:t>
                      </a:r>
                    </a:p>
                  </a:txBody>
                  <a:tcPr marL="9525" marR="9525" marT="9525" marB="0" anchor="ctr">
                    <a:solidFill>
                      <a:srgbClr val="9E0D3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4.1%</a:t>
                      </a:r>
                    </a:p>
                  </a:txBody>
                  <a:tcPr marL="9525" marR="9525" marT="9525" marB="0" anchor="ctr">
                    <a:solidFill>
                      <a:srgbClr val="9E0D3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6.3%</a:t>
                      </a:r>
                    </a:p>
                  </a:txBody>
                  <a:tcPr marL="9525" marR="9525" marT="9525" marB="0" anchor="ctr">
                    <a:solidFill>
                      <a:srgbClr val="9E0D3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0.3%</a:t>
                      </a:r>
                    </a:p>
                  </a:txBody>
                  <a:tcPr marL="9525" marR="9525" marT="9525" marB="0" anchor="ctr">
                    <a:solidFill>
                      <a:srgbClr val="9E0D3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3319425"/>
                  </a:ext>
                </a:extLst>
              </a:tr>
            </a:tbl>
          </a:graphicData>
        </a:graphic>
      </p:graphicFrame>
      <p:sp>
        <p:nvSpPr>
          <p:cNvPr id="16" name="TextBox 14">
            <a:extLst>
              <a:ext uri="{FF2B5EF4-FFF2-40B4-BE49-F238E27FC236}">
                <a16:creationId xmlns:a16="http://schemas.microsoft.com/office/drawing/2014/main" id="{4231A2FA-B47D-4C3D-8DDD-0F1ACD6C839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983075" y="3867155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 počet pacientů</a:t>
            </a:r>
            <a:b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žadujících intenzivní péči</a:t>
            </a:r>
          </a:p>
        </p:txBody>
      </p:sp>
      <p:sp>
        <p:nvSpPr>
          <p:cNvPr id="36" name="TextovéPole 35">
            <a:extLst>
              <a:ext uri="{FF2B5EF4-FFF2-40B4-BE49-F238E27FC236}">
                <a16:creationId xmlns:a16="http://schemas.microsoft.com/office/drawing/2014/main" id="{507D902C-D9A4-417A-909B-281157810E3B}"/>
              </a:ext>
            </a:extLst>
          </p:cNvPr>
          <p:cNvSpPr txBox="1"/>
          <p:nvPr/>
        </p:nvSpPr>
        <p:spPr>
          <a:xfrm>
            <a:off x="184727" y="12542"/>
            <a:ext cx="11797686" cy="538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týdenním srovnání počty hospitalizací na JIP v ČR </a:t>
            </a:r>
            <a:r>
              <a:rPr kumimoji="0" lang="cs-CZ" sz="28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esají</a:t>
            </a:r>
            <a:endParaRPr kumimoji="0" lang="cs-CZ" sz="2800" b="1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8" name="Zahnutá šipka nahoru 25">
            <a:extLst>
              <a:ext uri="{FF2B5EF4-FFF2-40B4-BE49-F238E27FC236}">
                <a16:creationId xmlns:a16="http://schemas.microsoft.com/office/drawing/2014/main" id="{3D31CB96-ADEB-47C9-A675-E23FD094E07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194213" y="1838493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9" name="Zahnutá šipka nahoru 25">
            <a:extLst>
              <a:ext uri="{FF2B5EF4-FFF2-40B4-BE49-F238E27FC236}">
                <a16:creationId xmlns:a16="http://schemas.microsoft.com/office/drawing/2014/main" id="{531FA440-D950-4855-8A5A-41583949B9D7}"/>
              </a:ext>
            </a:extLst>
          </p:cNvPr>
          <p:cNvSpPr/>
          <p:nvPr/>
        </p:nvSpPr>
        <p:spPr>
          <a:xfrm>
            <a:off x="3163628" y="1838493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0" name="Zahnutá šipka nahoru 25">
            <a:extLst>
              <a:ext uri="{FF2B5EF4-FFF2-40B4-BE49-F238E27FC236}">
                <a16:creationId xmlns:a16="http://schemas.microsoft.com/office/drawing/2014/main" id="{EED5D406-688B-4028-B433-E17549E6B582}"/>
              </a:ext>
            </a:extLst>
          </p:cNvPr>
          <p:cNvSpPr/>
          <p:nvPr/>
        </p:nvSpPr>
        <p:spPr>
          <a:xfrm>
            <a:off x="5107628" y="1838493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1" name="Zahnutá šipka nahoru 25">
            <a:extLst>
              <a:ext uri="{FF2B5EF4-FFF2-40B4-BE49-F238E27FC236}">
                <a16:creationId xmlns:a16="http://schemas.microsoft.com/office/drawing/2014/main" id="{239684B6-1F9E-4D4A-99B3-465E0D266E48}"/>
              </a:ext>
            </a:extLst>
          </p:cNvPr>
          <p:cNvSpPr/>
          <p:nvPr/>
        </p:nvSpPr>
        <p:spPr>
          <a:xfrm>
            <a:off x="7077043" y="1838493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2" name="Zahnutá šipka nahoru 25">
            <a:extLst>
              <a:ext uri="{FF2B5EF4-FFF2-40B4-BE49-F238E27FC236}">
                <a16:creationId xmlns:a16="http://schemas.microsoft.com/office/drawing/2014/main" id="{014848F3-E01B-4FEE-A43C-793BB5BF9DED}"/>
              </a:ext>
            </a:extLst>
          </p:cNvPr>
          <p:cNvSpPr/>
          <p:nvPr/>
        </p:nvSpPr>
        <p:spPr>
          <a:xfrm>
            <a:off x="9047677" y="1838493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9" name="Chart 11">
            <a:extLst>
              <a:ext uri="{FF2B5EF4-FFF2-40B4-BE49-F238E27FC236}">
                <a16:creationId xmlns:a16="http://schemas.microsoft.com/office/drawing/2014/main" id="{1D7A62A1-305C-4E9A-95A3-62A5167F3C58}"/>
              </a:ext>
            </a:extLst>
          </p:cNvPr>
          <p:cNvGraphicFramePr/>
          <p:nvPr>
            <p:custDataLst>
              <p:tags r:id="rId4"/>
            </p:custDataLst>
            <p:extLst/>
          </p:nvPr>
        </p:nvGraphicFramePr>
        <p:xfrm>
          <a:off x="557348" y="2464448"/>
          <a:ext cx="11634651" cy="43810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25" name="Skupina 24">
            <a:extLst>
              <a:ext uri="{FF2B5EF4-FFF2-40B4-BE49-F238E27FC236}">
                <a16:creationId xmlns:a16="http://schemas.microsoft.com/office/drawing/2014/main" id="{CA40C928-143B-4896-AF7B-D4BD5932C13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26" name="Přímá spojnice 25">
              <a:extLst>
                <a:ext uri="{FF2B5EF4-FFF2-40B4-BE49-F238E27FC236}">
                  <a16:creationId xmlns:a16="http://schemas.microsoft.com/office/drawing/2014/main" id="{0118BD85-0615-4F73-A73D-0924A20B44F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Přímá spojnice 26">
              <a:extLst>
                <a:ext uri="{FF2B5EF4-FFF2-40B4-BE49-F238E27FC236}">
                  <a16:creationId xmlns:a16="http://schemas.microsoft.com/office/drawing/2014/main" id="{464A0DF9-2D74-4995-B4F0-4AB553D3AB9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Obdélník 27">
              <a:extLst>
                <a:ext uri="{FF2B5EF4-FFF2-40B4-BE49-F238E27FC236}">
                  <a16:creationId xmlns:a16="http://schemas.microsoft.com/office/drawing/2014/main" id="{BDB9DB8F-062F-440A-92BC-D2FD34C150F4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TextovéPole 28">
              <a:extLst>
                <a:ext uri="{FF2B5EF4-FFF2-40B4-BE49-F238E27FC236}">
                  <a16:creationId xmlns:a16="http://schemas.microsoft.com/office/drawing/2014/main" id="{71966B87-6F6D-4EA4-B350-25CE639C641C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9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8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7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aximální počet pacientů s COVID-19 na lůžkách za období říjen/listopad 2020</a:t>
              </a:r>
              <a:endPara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EE3225F5-AE2B-4264-8B98-29C6B37DCBE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A5F8663C-1368-47B1-9212-E56B102300A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" name="Přímá spojnice 2"/>
          <p:cNvCxnSpPr/>
          <p:nvPr/>
        </p:nvCxnSpPr>
        <p:spPr>
          <a:xfrm flipH="1" flipV="1">
            <a:off x="1194213" y="5116945"/>
            <a:ext cx="8559387" cy="36946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3" name="Table 22">
            <a:extLst>
              <a:ext uri="{FF2B5EF4-FFF2-40B4-BE49-F238E27FC236}">
                <a16:creationId xmlns:a16="http://schemas.microsoft.com/office/drawing/2014/main" id="{A993E006-A971-4CFE-92BA-F40989168BB4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  <p:extLst/>
          </p:nvPr>
        </p:nvGraphicFramePr>
        <p:xfrm>
          <a:off x="197157" y="1432948"/>
          <a:ext cx="11797686" cy="29527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66281">
                  <a:extLst>
                    <a:ext uri="{9D8B030D-6E8A-4147-A177-3AD203B41FA5}">
                      <a16:colId xmlns:a16="http://schemas.microsoft.com/office/drawing/2014/main" val="2706301777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413077620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2872917988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2921272003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424978856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2927375975"/>
                    </a:ext>
                  </a:extLst>
                </a:gridCol>
              </a:tblGrid>
              <a:tr h="29527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47 hospitalizací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47 hospitalizací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50 hospitalizací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32 hospitalizací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15 hospitalizací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9 hospitalizací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046660"/>
                  </a:ext>
                </a:extLst>
              </a:tr>
            </a:tbl>
          </a:graphicData>
        </a:graphic>
      </p:graphicFrame>
      <p:graphicFrame>
        <p:nvGraphicFramePr>
          <p:cNvPr id="24" name="Tabulka 8">
            <a:extLst>
              <a:ext uri="{FF2B5EF4-FFF2-40B4-BE49-F238E27FC236}">
                <a16:creationId xmlns:a16="http://schemas.microsoft.com/office/drawing/2014/main" id="{BF7BF5A5-01A1-409A-9508-FAD6E7026012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/>
          </p:nvPr>
        </p:nvGraphicFramePr>
        <p:xfrm>
          <a:off x="146287" y="662469"/>
          <a:ext cx="11797686" cy="741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66281">
                  <a:extLst>
                    <a:ext uri="{9D8B030D-6E8A-4147-A177-3AD203B41FA5}">
                      <a16:colId xmlns:a16="http://schemas.microsoft.com/office/drawing/2014/main" val="3924625702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1669069357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462042178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4284827979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640797798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52957255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</a:t>
                      </a:r>
                      <a:r>
                        <a:rPr lang="en-US" sz="16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av</a:t>
                      </a:r>
                      <a:endParaRPr lang="cs-CZ" sz="16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</a:t>
                      </a:r>
                      <a:r>
                        <a:rPr lang="en-US" sz="16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av</a:t>
                      </a:r>
                      <a:endParaRPr lang="cs-CZ" sz="16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</a:t>
                      </a:r>
                      <a:r>
                        <a:rPr lang="en-US" sz="16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av</a:t>
                      </a:r>
                      <a:endParaRPr lang="cs-CZ" sz="16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</a:t>
                      </a:r>
                      <a:r>
                        <a:rPr lang="en-US" sz="16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av</a:t>
                      </a:r>
                      <a:endParaRPr lang="cs-CZ" sz="16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</a:t>
                      </a:r>
                      <a:r>
                        <a:rPr lang="en-US" sz="16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av</a:t>
                      </a:r>
                      <a:endParaRPr lang="cs-CZ" sz="16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</a:t>
                      </a:r>
                      <a:r>
                        <a:rPr lang="en-US" sz="16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av</a:t>
                      </a:r>
                      <a:endParaRPr lang="cs-CZ" sz="16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10693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3.–</a:t>
                      </a:r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0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3. </a:t>
                      </a:r>
                    </a:p>
                  </a:txBody>
                  <a:tcPr marL="6350" marR="6350" marT="635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1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3.–2</a:t>
                      </a:r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7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3. </a:t>
                      </a:r>
                    </a:p>
                  </a:txBody>
                  <a:tcPr marL="6350" marR="6350" marT="635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3.–</a:t>
                      </a:r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</a:t>
                      </a:r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</a:t>
                      </a:r>
                    </a:p>
                  </a:txBody>
                  <a:tcPr marL="6350" marR="6350" marT="635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4.–</a:t>
                      </a:r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0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4. </a:t>
                      </a:r>
                    </a:p>
                  </a:txBody>
                  <a:tcPr marL="6350" marR="6350" marT="635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4.–1</a:t>
                      </a:r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7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4. </a:t>
                      </a:r>
                    </a:p>
                  </a:txBody>
                  <a:tcPr marL="6350" marR="6350" marT="635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4.–2</a:t>
                      </a:r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4. </a:t>
                      </a:r>
                    </a:p>
                  </a:txBody>
                  <a:tcPr marL="6350" marR="6350" marT="635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26688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8184819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3D48422-1472-2B43-AFF4-50C66979EA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3961" y="93910"/>
            <a:ext cx="11490037" cy="1325563"/>
          </a:xfrm>
        </p:spPr>
        <p:txBody>
          <a:bodyPr>
            <a:noAutofit/>
          </a:bodyPr>
          <a:lstStyle/>
          <a:p>
            <a:pPr algn="ctr"/>
            <a:r>
              <a:rPr lang="en-CZ" sz="3400" b="1" dirty="0"/>
              <a:t/>
            </a:r>
            <a:br>
              <a:rPr lang="en-CZ" sz="3400" b="1" dirty="0"/>
            </a:br>
            <a:r>
              <a:rPr lang="en-CZ" sz="4000" b="1" dirty="0">
                <a:latin typeface="+mn-lt"/>
              </a:rPr>
              <a:t>Aktuální </a:t>
            </a:r>
            <a:r>
              <a:rPr lang="cs-CZ" sz="4000" b="1" dirty="0">
                <a:latin typeface="+mn-lt"/>
              </a:rPr>
              <a:t>počty </a:t>
            </a:r>
            <a:r>
              <a:rPr lang="en-CZ" sz="4000" b="1" dirty="0">
                <a:latin typeface="+mn-lt"/>
              </a:rPr>
              <a:t>hospitalizovaných</a:t>
            </a:r>
            <a:r>
              <a:rPr lang="cs-CZ" sz="4000" b="1" dirty="0">
                <a:latin typeface="+mn-lt"/>
              </a:rPr>
              <a:t> pacientů klesají</a:t>
            </a:r>
            <a:br>
              <a:rPr lang="cs-CZ" sz="4000" b="1" dirty="0">
                <a:latin typeface="+mn-lt"/>
              </a:rPr>
            </a:br>
            <a:r>
              <a:rPr lang="cs-CZ" sz="4000" b="1" dirty="0">
                <a:latin typeface="+mn-lt"/>
              </a:rPr>
              <a:t>a roste i dostupná kapacita lůžek, včetně JIP</a:t>
            </a:r>
            <a:endParaRPr lang="en-CZ" sz="4000" b="1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76AA7CEA-DA9D-FB48-ACE8-2C23380168C2}"/>
              </a:ext>
            </a:extLst>
          </p:cNvPr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782785" y="3294205"/>
            <a:ext cx="10515600" cy="3448339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GB" sz="5700" dirty="0"/>
              <a:t>C</a:t>
            </a:r>
            <a:r>
              <a:rPr lang="en-CZ" sz="5700" dirty="0"/>
              <a:t>elkem v nemocnici: 		</a:t>
            </a:r>
            <a:r>
              <a:rPr lang="cs-CZ" sz="5700" dirty="0">
                <a:solidFill>
                  <a:srgbClr val="FF0000"/>
                </a:solidFill>
              </a:rPr>
              <a:t>3 144</a:t>
            </a:r>
            <a:endParaRPr lang="en-CZ" sz="5700" dirty="0">
              <a:solidFill>
                <a:srgbClr val="FF0000"/>
              </a:solidFill>
            </a:endParaRPr>
          </a:p>
          <a:p>
            <a:pPr marL="0" indent="0">
              <a:buNone/>
            </a:pPr>
            <a:r>
              <a:rPr lang="en-CZ" sz="5700" dirty="0"/>
              <a:t>Z toho JIP:					</a:t>
            </a:r>
            <a:r>
              <a:rPr lang="cs-CZ" sz="5700" dirty="0">
                <a:solidFill>
                  <a:srgbClr val="FF0000"/>
                </a:solidFill>
              </a:rPr>
              <a:t>743</a:t>
            </a:r>
            <a:endParaRPr lang="en-CZ" sz="5700" dirty="0">
              <a:highlight>
                <a:srgbClr val="FFFF00"/>
              </a:highlight>
            </a:endParaRPr>
          </a:p>
          <a:p>
            <a:pPr marL="0" indent="0">
              <a:buNone/>
            </a:pPr>
            <a:r>
              <a:rPr lang="en-CZ" sz="5700" dirty="0"/>
              <a:t>Z toho UPV: 				 	</a:t>
            </a:r>
            <a:r>
              <a:rPr lang="cs-CZ" sz="5700" dirty="0">
                <a:solidFill>
                  <a:srgbClr val="FF0000"/>
                </a:solidFill>
              </a:rPr>
              <a:t>358</a:t>
            </a:r>
            <a:r>
              <a:rPr lang="en-CZ" sz="5700" dirty="0">
                <a:solidFill>
                  <a:srgbClr val="FF0000"/>
                </a:solidFill>
              </a:rPr>
              <a:t>     </a:t>
            </a:r>
            <a:endParaRPr lang="en-CZ" sz="5700" dirty="0">
              <a:solidFill>
                <a:srgbClr val="FF0000"/>
              </a:solidFill>
              <a:highlight>
                <a:srgbClr val="FFFF00"/>
              </a:highlight>
            </a:endParaRPr>
          </a:p>
          <a:p>
            <a:pPr marL="0" indent="0">
              <a:buNone/>
            </a:pPr>
            <a:r>
              <a:rPr lang="en-CZ" sz="5700" dirty="0"/>
              <a:t>Z toho ECMO:				</a:t>
            </a:r>
            <a:r>
              <a:rPr lang="cs-CZ" sz="5700" dirty="0">
                <a:solidFill>
                  <a:srgbClr val="FF0000"/>
                </a:solidFill>
              </a:rPr>
              <a:t>17</a:t>
            </a:r>
            <a:endParaRPr lang="en-CZ" sz="4700" i="1" dirty="0"/>
          </a:p>
        </p:txBody>
      </p:sp>
      <p:sp>
        <p:nvSpPr>
          <p:cNvPr id="2" name="Šipka dolů 1"/>
          <p:cNvSpPr/>
          <p:nvPr/>
        </p:nvSpPr>
        <p:spPr>
          <a:xfrm>
            <a:off x="5144651" y="1892081"/>
            <a:ext cx="1588655" cy="785091"/>
          </a:xfrm>
          <a:prstGeom prst="downArrow">
            <a:avLst/>
          </a:prstGeom>
          <a:solidFill>
            <a:srgbClr val="30598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ovéPole 2"/>
          <p:cNvSpPr txBox="1"/>
          <p:nvPr>
            <p:custDataLst>
              <p:tags r:id="rId2"/>
            </p:custDataLst>
          </p:nvPr>
        </p:nvSpPr>
        <p:spPr>
          <a:xfrm>
            <a:off x="7706306" y="2677172"/>
            <a:ext cx="2948709" cy="461665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v k </a:t>
            </a:r>
            <a:r>
              <a:rPr lang="cs-CZ" sz="2400" b="1" dirty="0">
                <a:solidFill>
                  <a:prstClr val="white"/>
                </a:solidFill>
                <a:latin typeface="Calibri" panose="020F0502020204030204"/>
              </a:rPr>
              <a:t>24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4. 2021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Šipka doprava 5"/>
          <p:cNvSpPr/>
          <p:nvPr/>
        </p:nvSpPr>
        <p:spPr>
          <a:xfrm rot="5400000">
            <a:off x="9986683" y="3433482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7" name="Šipka doprava 6"/>
          <p:cNvSpPr/>
          <p:nvPr/>
        </p:nvSpPr>
        <p:spPr>
          <a:xfrm rot="5400000">
            <a:off x="9368118" y="4240305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Šipka doprava 7"/>
          <p:cNvSpPr/>
          <p:nvPr/>
        </p:nvSpPr>
        <p:spPr>
          <a:xfrm rot="5400000">
            <a:off x="9368117" y="5103867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2464590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1"/>
            <a:ext cx="11038993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9062719" y="2572320"/>
            <a:ext cx="2923309" cy="15388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bsazená akutní lůžka C+ pacient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 </a:t>
            </a: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2.4.2021 00:18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923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Obdélník 25"/>
          <p:cNvSpPr/>
          <p:nvPr/>
        </p:nvSpPr>
        <p:spPr>
          <a:xfrm>
            <a:off x="2888055" y="5642423"/>
            <a:ext cx="343927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Nemocnice s aktualizací starší 48 hod.: </a:t>
            </a:r>
            <a:r>
              <a:rPr kumimoji="0" lang="pl-PL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21</a:t>
            </a:r>
            <a:r>
              <a:rPr kumimoji="0" lang="pl-PL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x</a:t>
            </a:r>
            <a:r>
              <a:rPr kumimoji="0" lang="pl-PL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9" name="Obrázek 2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2816" y="6011755"/>
            <a:ext cx="8628301" cy="258300"/>
          </a:xfrm>
          <a:prstGeom prst="rect">
            <a:avLst/>
          </a:prstGeom>
        </p:spPr>
      </p:pic>
      <p:graphicFrame>
        <p:nvGraphicFramePr>
          <p:cNvPr id="4" name="Tabulka 3"/>
          <p:cNvGraphicFramePr>
            <a:graphicFrameLocks noGrp="1"/>
          </p:cNvGraphicFramePr>
          <p:nvPr>
            <p:extLst/>
          </p:nvPr>
        </p:nvGraphicFramePr>
        <p:xfrm>
          <a:off x="549942" y="1052126"/>
          <a:ext cx="8215235" cy="4729589"/>
        </p:xfrm>
        <a:graphic>
          <a:graphicData uri="http://schemas.openxmlformats.org/drawingml/2006/table">
            <a:tbl>
              <a:tblPr/>
              <a:tblGrid>
                <a:gridCol w="2100242">
                  <a:extLst>
                    <a:ext uri="{9D8B030D-6E8A-4147-A177-3AD203B41FA5}">
                      <a16:colId xmlns:a16="http://schemas.microsoft.com/office/drawing/2014/main" val="1514788375"/>
                    </a:ext>
                  </a:extLst>
                </a:gridCol>
                <a:gridCol w="1285864">
                  <a:extLst>
                    <a:ext uri="{9D8B030D-6E8A-4147-A177-3AD203B41FA5}">
                      <a16:colId xmlns:a16="http://schemas.microsoft.com/office/drawing/2014/main" val="4213828169"/>
                    </a:ext>
                  </a:extLst>
                </a:gridCol>
                <a:gridCol w="1189422">
                  <a:extLst>
                    <a:ext uri="{9D8B030D-6E8A-4147-A177-3AD203B41FA5}">
                      <a16:colId xmlns:a16="http://schemas.microsoft.com/office/drawing/2014/main" val="3446499824"/>
                    </a:ext>
                  </a:extLst>
                </a:gridCol>
                <a:gridCol w="1178708">
                  <a:extLst>
                    <a:ext uri="{9D8B030D-6E8A-4147-A177-3AD203B41FA5}">
                      <a16:colId xmlns:a16="http://schemas.microsoft.com/office/drawing/2014/main" val="996083563"/>
                    </a:ext>
                  </a:extLst>
                </a:gridCol>
                <a:gridCol w="1228714">
                  <a:extLst>
                    <a:ext uri="{9D8B030D-6E8A-4147-A177-3AD203B41FA5}">
                      <a16:colId xmlns:a16="http://schemas.microsoft.com/office/drawing/2014/main" val="2779001991"/>
                    </a:ext>
                  </a:extLst>
                </a:gridCol>
                <a:gridCol w="1232285">
                  <a:extLst>
                    <a:ext uri="{9D8B030D-6E8A-4147-A177-3AD203B41FA5}">
                      <a16:colId xmlns:a16="http://schemas.microsoft.com/office/drawing/2014/main" val="419038843"/>
                    </a:ext>
                  </a:extLst>
                </a:gridCol>
              </a:tblGrid>
              <a:tr h="216768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akutních lůžek (ARO + JIP) v ČR k 22.4. 2021, 12:30 h</a:t>
                      </a:r>
                    </a:p>
                  </a:txBody>
                  <a:tcPr marL="7410" marR="7410" marT="74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22940369"/>
                  </a:ext>
                </a:extLst>
              </a:tr>
              <a:tr h="182879"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10" marR="7410" marT="74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10" marR="7410" marT="74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10" marR="7410" marT="74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10" marR="7410" marT="74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10" marR="7410" marT="74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10" marR="7410" marT="74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76339693"/>
                  </a:ext>
                </a:extLst>
              </a:tr>
              <a:tr h="216768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kutní lůžka IP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3969960"/>
                  </a:ext>
                </a:extLst>
              </a:tr>
              <a:tr h="62708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/CPAP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/CPAPpro Covid+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/NIV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/NIV pro Covid+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9654325"/>
                  </a:ext>
                </a:extLst>
              </a:tr>
              <a:tr h="19354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4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237373"/>
                  </a:ext>
                </a:extLst>
              </a:tr>
              <a:tr h="19354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3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9023745"/>
                  </a:ext>
                </a:extLst>
              </a:tr>
              <a:tr h="19354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2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2335883"/>
                  </a:ext>
                </a:extLst>
              </a:tr>
              <a:tr h="19354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7971137"/>
                  </a:ext>
                </a:extLst>
              </a:tr>
              <a:tr h="19354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6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5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2271343"/>
                  </a:ext>
                </a:extLst>
              </a:tr>
              <a:tr h="19354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0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9566295"/>
                  </a:ext>
                </a:extLst>
              </a:tr>
              <a:tr h="19354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4312331"/>
                  </a:ext>
                </a:extLst>
              </a:tr>
              <a:tr h="19354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1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3254125"/>
                  </a:ext>
                </a:extLst>
              </a:tr>
              <a:tr h="19354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0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7414260"/>
                  </a:ext>
                </a:extLst>
              </a:tr>
              <a:tr h="19354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7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328498"/>
                  </a:ext>
                </a:extLst>
              </a:tr>
              <a:tr h="19354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06252632"/>
                  </a:ext>
                </a:extLst>
              </a:tr>
              <a:tr h="19354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2286571"/>
                  </a:ext>
                </a:extLst>
              </a:tr>
              <a:tr h="19354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1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864275"/>
                  </a:ext>
                </a:extLst>
              </a:tr>
              <a:tr h="2090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6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8760483"/>
                  </a:ext>
                </a:extLst>
              </a:tr>
              <a:tr h="2245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144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8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3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0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6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65495513"/>
                  </a:ext>
                </a:extLst>
              </a:tr>
              <a:tr h="358016"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10" marR="7410" marT="741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10" marR="7410" marT="741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10" marR="7410" marT="741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</a:t>
                      </a:r>
                    </a:p>
                  </a:txBody>
                  <a:tcPr marL="7410" marR="7410" marT="741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7001369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968125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800" dirty="0" smtClean="0"/>
              <a:t>Národní dispečink lůžkové péče</a:t>
            </a:r>
            <a:endParaRPr lang="cs-CZ" sz="2800" dirty="0"/>
          </a:p>
        </p:txBody>
      </p:sp>
      <p:graphicFrame>
        <p:nvGraphicFramePr>
          <p:cNvPr id="7" name="Zástupný symbol pro obsah 6"/>
          <p:cNvGraphicFramePr>
            <a:graphicFrameLocks noGrp="1"/>
          </p:cNvGraphicFramePr>
          <p:nvPr>
            <p:ph idx="1"/>
            <p:extLst/>
          </p:nvPr>
        </p:nvGraphicFramePr>
        <p:xfrm>
          <a:off x="332819" y="1014143"/>
          <a:ext cx="8888359" cy="254240"/>
        </p:xfrm>
        <a:graphic>
          <a:graphicData uri="http://schemas.openxmlformats.org/drawingml/2006/table">
            <a:tbl>
              <a:tblPr/>
              <a:tblGrid>
                <a:gridCol w="4173915">
                  <a:extLst>
                    <a:ext uri="{9D8B030D-6E8A-4147-A177-3AD203B41FA5}">
                      <a16:colId xmlns:a16="http://schemas.microsoft.com/office/drawing/2014/main" val="747149834"/>
                    </a:ext>
                  </a:extLst>
                </a:gridCol>
                <a:gridCol w="1240979">
                  <a:extLst>
                    <a:ext uri="{9D8B030D-6E8A-4147-A177-3AD203B41FA5}">
                      <a16:colId xmlns:a16="http://schemas.microsoft.com/office/drawing/2014/main" val="2366994226"/>
                    </a:ext>
                  </a:extLst>
                </a:gridCol>
                <a:gridCol w="1237782">
                  <a:extLst>
                    <a:ext uri="{9D8B030D-6E8A-4147-A177-3AD203B41FA5}">
                      <a16:colId xmlns:a16="http://schemas.microsoft.com/office/drawing/2014/main" val="963647003"/>
                    </a:ext>
                  </a:extLst>
                </a:gridCol>
                <a:gridCol w="1007497">
                  <a:extLst>
                    <a:ext uri="{9D8B030D-6E8A-4147-A177-3AD203B41FA5}">
                      <a16:colId xmlns:a16="http://schemas.microsoft.com/office/drawing/2014/main" val="2206882935"/>
                    </a:ext>
                  </a:extLst>
                </a:gridCol>
                <a:gridCol w="1228186">
                  <a:extLst>
                    <a:ext uri="{9D8B030D-6E8A-4147-A177-3AD203B41FA5}">
                      <a16:colId xmlns:a16="http://schemas.microsoft.com/office/drawing/2014/main" val="3417075034"/>
                    </a:ext>
                  </a:extLst>
                </a:gridCol>
              </a:tblGrid>
              <a:tr h="254240">
                <a:tc>
                  <a:txBody>
                    <a:bodyPr/>
                    <a:lstStyle/>
                    <a:p>
                      <a:pPr algn="r" fontAlgn="b"/>
                      <a:endParaRPr lang="pl-PL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74" marR="6874" marT="687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74" marR="6874" marT="687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74" marR="6874" marT="687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74" marR="6874" marT="687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74" marR="6874" marT="6874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0138154"/>
                  </a:ext>
                </a:extLst>
              </a:tr>
            </a:tbl>
          </a:graphicData>
        </a:graphic>
      </p:graphicFrame>
      <p:sp>
        <p:nvSpPr>
          <p:cNvPr id="9" name="TextovéPole 8"/>
          <p:cNvSpPr txBox="1"/>
          <p:nvPr/>
        </p:nvSpPr>
        <p:spPr>
          <a:xfrm>
            <a:off x="8933743" y="2593981"/>
            <a:ext cx="3186215" cy="15388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bsazená standardní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lůžka C+ pacient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 </a:t>
            </a: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2.4.2021 00:18</a:t>
            </a: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 986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6" name="Obrázek 2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2819" y="6082142"/>
            <a:ext cx="8434669" cy="258300"/>
          </a:xfrm>
          <a:prstGeom prst="rect">
            <a:avLst/>
          </a:prstGeom>
        </p:spPr>
      </p:pic>
      <p:sp>
        <p:nvSpPr>
          <p:cNvPr id="27" name="Obdélník 26"/>
          <p:cNvSpPr/>
          <p:nvPr/>
        </p:nvSpPr>
        <p:spPr>
          <a:xfrm>
            <a:off x="3113468" y="5685377"/>
            <a:ext cx="386053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Nemocnice s aktualizací starší 48 hod.: </a:t>
            </a:r>
            <a:r>
              <a:rPr kumimoji="0" lang="pl-PL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21x</a:t>
            </a:r>
            <a:r>
              <a:rPr kumimoji="0" lang="pl-PL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extLst/>
          </p:nvPr>
        </p:nvGraphicFramePr>
        <p:xfrm>
          <a:off x="565113" y="1014143"/>
          <a:ext cx="7037471" cy="4770665"/>
        </p:xfrm>
        <a:graphic>
          <a:graphicData uri="http://schemas.openxmlformats.org/drawingml/2006/table">
            <a:tbl>
              <a:tblPr/>
              <a:tblGrid>
                <a:gridCol w="2632723">
                  <a:extLst>
                    <a:ext uri="{9D8B030D-6E8A-4147-A177-3AD203B41FA5}">
                      <a16:colId xmlns:a16="http://schemas.microsoft.com/office/drawing/2014/main" val="3621660990"/>
                    </a:ext>
                  </a:extLst>
                </a:gridCol>
                <a:gridCol w="1483827">
                  <a:extLst>
                    <a:ext uri="{9D8B030D-6E8A-4147-A177-3AD203B41FA5}">
                      <a16:colId xmlns:a16="http://schemas.microsoft.com/office/drawing/2014/main" val="2674337920"/>
                    </a:ext>
                  </a:extLst>
                </a:gridCol>
                <a:gridCol w="1472143">
                  <a:extLst>
                    <a:ext uri="{9D8B030D-6E8A-4147-A177-3AD203B41FA5}">
                      <a16:colId xmlns:a16="http://schemas.microsoft.com/office/drawing/2014/main" val="3199870007"/>
                    </a:ext>
                  </a:extLst>
                </a:gridCol>
                <a:gridCol w="1448778">
                  <a:extLst>
                    <a:ext uri="{9D8B030D-6E8A-4147-A177-3AD203B41FA5}">
                      <a16:colId xmlns:a16="http://schemas.microsoft.com/office/drawing/2014/main" val="1444891473"/>
                    </a:ext>
                  </a:extLst>
                </a:gridCol>
              </a:tblGrid>
              <a:tr h="393481">
                <a:tc gridSpan="4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standardních lůžek s přívodem kyslíku v ČR k 22.4. 2021, 12:30 h</a:t>
                      </a:r>
                    </a:p>
                  </a:txBody>
                  <a:tcPr marL="7257" marR="7257" marT="7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47168238"/>
                  </a:ext>
                </a:extLst>
              </a:tr>
              <a:tr h="181666"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7" marR="7257" marT="725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7" marR="7257" marT="725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7" marR="7257" marT="725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7" marR="7257" marT="725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68976381"/>
                  </a:ext>
                </a:extLst>
              </a:tr>
              <a:tr h="211063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7257" marR="7257" marT="7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dní lůžka s O</a:t>
                      </a:r>
                      <a:r>
                        <a:rPr lang="cs-CZ" sz="13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7" marR="7257" marT="7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1855181"/>
                  </a:ext>
                </a:extLst>
              </a:tr>
              <a:tr h="610575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7257" marR="7257" marT="7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standardní s kyslíkem</a:t>
                      </a:r>
                    </a:p>
                  </a:txBody>
                  <a:tcPr marL="7257" marR="7257" marT="7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7257" marR="7257" marT="7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1848732"/>
                  </a:ext>
                </a:extLst>
              </a:tr>
              <a:tr h="18844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7257" marR="7257" marT="7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53</a:t>
                      </a:r>
                    </a:p>
                  </a:txBody>
                  <a:tcPr marL="7257" marR="7257" marT="7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6</a:t>
                      </a:r>
                    </a:p>
                  </a:txBody>
                  <a:tcPr marL="7257" marR="7257" marT="7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0</a:t>
                      </a:r>
                    </a:p>
                  </a:txBody>
                  <a:tcPr marL="7257" marR="7257" marT="7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16806965"/>
                  </a:ext>
                </a:extLst>
              </a:tr>
              <a:tr h="18844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7257" marR="7257" marT="7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01</a:t>
                      </a:r>
                    </a:p>
                  </a:txBody>
                  <a:tcPr marL="7257" marR="7257" marT="7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6</a:t>
                      </a:r>
                    </a:p>
                  </a:txBody>
                  <a:tcPr marL="7257" marR="7257" marT="7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5</a:t>
                      </a:r>
                    </a:p>
                  </a:txBody>
                  <a:tcPr marL="7257" marR="7257" marT="7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4008584"/>
                  </a:ext>
                </a:extLst>
              </a:tr>
              <a:tr h="18844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7257" marR="7257" marT="7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73</a:t>
                      </a:r>
                    </a:p>
                  </a:txBody>
                  <a:tcPr marL="7257" marR="7257" marT="7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6</a:t>
                      </a:r>
                    </a:p>
                  </a:txBody>
                  <a:tcPr marL="7257" marR="7257" marT="7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7257" marR="7257" marT="7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9312829"/>
                  </a:ext>
                </a:extLst>
              </a:tr>
              <a:tr h="18844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7257" marR="7257" marT="7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2</a:t>
                      </a:r>
                    </a:p>
                  </a:txBody>
                  <a:tcPr marL="7257" marR="7257" marT="7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3</a:t>
                      </a:r>
                    </a:p>
                  </a:txBody>
                  <a:tcPr marL="7257" marR="7257" marT="7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7</a:t>
                      </a:r>
                    </a:p>
                  </a:txBody>
                  <a:tcPr marL="7257" marR="7257" marT="7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72106560"/>
                  </a:ext>
                </a:extLst>
              </a:tr>
              <a:tr h="18844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7257" marR="7257" marT="7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32</a:t>
                      </a:r>
                    </a:p>
                  </a:txBody>
                  <a:tcPr marL="7257" marR="7257" marT="7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9</a:t>
                      </a:r>
                    </a:p>
                  </a:txBody>
                  <a:tcPr marL="7257" marR="7257" marT="7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7</a:t>
                      </a:r>
                    </a:p>
                  </a:txBody>
                  <a:tcPr marL="7257" marR="7257" marT="7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2865397"/>
                  </a:ext>
                </a:extLst>
              </a:tr>
              <a:tr h="18844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7257" marR="7257" marT="7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7</a:t>
                      </a:r>
                    </a:p>
                  </a:txBody>
                  <a:tcPr marL="7257" marR="7257" marT="7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7</a:t>
                      </a:r>
                    </a:p>
                  </a:txBody>
                  <a:tcPr marL="7257" marR="7257" marT="7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7257" marR="7257" marT="7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7167235"/>
                  </a:ext>
                </a:extLst>
              </a:tr>
              <a:tr h="18844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7257" marR="7257" marT="7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83</a:t>
                      </a:r>
                    </a:p>
                  </a:txBody>
                  <a:tcPr marL="7257" marR="7257" marT="7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4</a:t>
                      </a:r>
                    </a:p>
                  </a:txBody>
                  <a:tcPr marL="7257" marR="7257" marT="7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7257" marR="7257" marT="7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6088937"/>
                  </a:ext>
                </a:extLst>
              </a:tr>
              <a:tr h="18844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7257" marR="7257" marT="7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77</a:t>
                      </a:r>
                    </a:p>
                  </a:txBody>
                  <a:tcPr marL="7257" marR="7257" marT="7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3</a:t>
                      </a:r>
                    </a:p>
                  </a:txBody>
                  <a:tcPr marL="7257" marR="7257" marT="7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0</a:t>
                      </a:r>
                    </a:p>
                  </a:txBody>
                  <a:tcPr marL="7257" marR="7257" marT="7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1575802"/>
                  </a:ext>
                </a:extLst>
              </a:tr>
              <a:tr h="18844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7257" marR="7257" marT="7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396</a:t>
                      </a:r>
                    </a:p>
                  </a:txBody>
                  <a:tcPr marL="7257" marR="7257" marT="7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5</a:t>
                      </a:r>
                    </a:p>
                  </a:txBody>
                  <a:tcPr marL="7257" marR="7257" marT="7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2</a:t>
                      </a:r>
                    </a:p>
                  </a:txBody>
                  <a:tcPr marL="7257" marR="7257" marT="7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7376802"/>
                  </a:ext>
                </a:extLst>
              </a:tr>
              <a:tr h="18844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7257" marR="7257" marT="7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87</a:t>
                      </a:r>
                    </a:p>
                  </a:txBody>
                  <a:tcPr marL="7257" marR="7257" marT="7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9</a:t>
                      </a:r>
                    </a:p>
                  </a:txBody>
                  <a:tcPr marL="7257" marR="7257" marT="7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7257" marR="7257" marT="7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3131680"/>
                  </a:ext>
                </a:extLst>
              </a:tr>
              <a:tr h="18844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7257" marR="7257" marT="7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39</a:t>
                      </a:r>
                    </a:p>
                  </a:txBody>
                  <a:tcPr marL="7257" marR="7257" marT="7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9</a:t>
                      </a:r>
                    </a:p>
                  </a:txBody>
                  <a:tcPr marL="7257" marR="7257" marT="7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</a:t>
                      </a:r>
                    </a:p>
                  </a:txBody>
                  <a:tcPr marL="7257" marR="7257" marT="7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8614971"/>
                  </a:ext>
                </a:extLst>
              </a:tr>
              <a:tr h="18844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7257" marR="7257" marT="7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8</a:t>
                      </a:r>
                    </a:p>
                  </a:txBody>
                  <a:tcPr marL="7257" marR="7257" marT="7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</a:p>
                  </a:txBody>
                  <a:tcPr marL="7257" marR="7257" marT="7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7257" marR="7257" marT="7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2017022"/>
                  </a:ext>
                </a:extLst>
              </a:tr>
              <a:tr h="18844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7257" marR="7257" marT="7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01</a:t>
                      </a:r>
                    </a:p>
                  </a:txBody>
                  <a:tcPr marL="7257" marR="7257" marT="7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9</a:t>
                      </a:r>
                    </a:p>
                  </a:txBody>
                  <a:tcPr marL="7257" marR="7257" marT="7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3</a:t>
                      </a:r>
                    </a:p>
                  </a:txBody>
                  <a:tcPr marL="7257" marR="7257" marT="7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3991506"/>
                  </a:ext>
                </a:extLst>
              </a:tr>
              <a:tr h="2035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7257" marR="7257" marT="7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2</a:t>
                      </a:r>
                    </a:p>
                  </a:txBody>
                  <a:tcPr marL="7257" marR="7257" marT="7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0</a:t>
                      </a:r>
                    </a:p>
                  </a:txBody>
                  <a:tcPr marL="7257" marR="7257" marT="7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</a:t>
                      </a:r>
                    </a:p>
                  </a:txBody>
                  <a:tcPr marL="7257" marR="7257" marT="7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9549206"/>
                  </a:ext>
                </a:extLst>
              </a:tr>
              <a:tr h="21860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7257" marR="7257" marT="7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721</a:t>
                      </a:r>
                    </a:p>
                  </a:txBody>
                  <a:tcPr marL="7257" marR="7257" marT="7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33</a:t>
                      </a:r>
                    </a:p>
                  </a:txBody>
                  <a:tcPr marL="7257" marR="7257" marT="7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14</a:t>
                      </a:r>
                    </a:p>
                  </a:txBody>
                  <a:tcPr marL="7257" marR="7257" marT="7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6747916"/>
                  </a:ext>
                </a:extLst>
              </a:tr>
              <a:tr h="256290">
                <a:tc gridSpan="4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</a:t>
                      </a:r>
                    </a:p>
                  </a:txBody>
                  <a:tcPr marL="7257" marR="7257" marT="7257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91679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773336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97626" y="165100"/>
            <a:ext cx="9379857" cy="908050"/>
          </a:xfrm>
        </p:spPr>
        <p:txBody>
          <a:bodyPr>
            <a:noAutofit/>
          </a:bodyPr>
          <a:lstStyle/>
          <a:p>
            <a:r>
              <a:rPr lang="cs-CZ" sz="2400" dirty="0" smtClean="0"/>
              <a:t>NDLP – vývoj obsazenosti C+ lůžek v ČR</a:t>
            </a:r>
            <a:endParaRPr lang="cs-CZ" sz="2400" dirty="0"/>
          </a:p>
        </p:txBody>
      </p:sp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00000000-0008-0000-0000-000002000000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927442" y="1022894"/>
          <a:ext cx="8608444" cy="5092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419458698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84109" y="3683584"/>
            <a:ext cx="11623781" cy="1583741"/>
          </a:xfrm>
        </p:spPr>
        <p:txBody>
          <a:bodyPr>
            <a:normAutofit fontScale="92500"/>
          </a:bodyPr>
          <a:lstStyle/>
          <a:p>
            <a:r>
              <a:rPr lang="cs-CZ" sz="5200" b="1" dirty="0"/>
              <a:t>Dlouhodobé predikce zátěže nemocnic</a:t>
            </a:r>
          </a:p>
          <a:p>
            <a:r>
              <a:rPr lang="cs-CZ" sz="3000" i="1" dirty="0" smtClean="0"/>
              <a:t>Původní scénáře </a:t>
            </a:r>
            <a:r>
              <a:rPr lang="cs-CZ" sz="3000" i="1" dirty="0"/>
              <a:t>kalkulující s rychlým efektem přijatých opatření </a:t>
            </a:r>
            <a:r>
              <a:rPr lang="cs-CZ" sz="3000" i="1" dirty="0" smtClean="0"/>
              <a:t>po </a:t>
            </a:r>
            <a:r>
              <a:rPr lang="cs-CZ" sz="3000" i="1" dirty="0"/>
              <a:t>8.3. 2021</a:t>
            </a:r>
          </a:p>
        </p:txBody>
      </p:sp>
      <p:sp>
        <p:nvSpPr>
          <p:cNvPr id="4" name="Obdélník 3"/>
          <p:cNvSpPr/>
          <p:nvPr/>
        </p:nvSpPr>
        <p:spPr>
          <a:xfrm>
            <a:off x="661166" y="5107068"/>
            <a:ext cx="10869665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této variantě modelů </a:t>
            </a: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yla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lkulována silná změna v populačních trendech již od prvního týdne v březnu,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 následným pozitivním dopadem na zátěž nemocnic od cca 14.3. 2021. </a:t>
            </a:r>
            <a:r>
              <a:rPr lang="cs-CZ" dirty="0" smtClean="0">
                <a:solidFill>
                  <a:prstClr val="black"/>
                </a:solidFill>
                <a:latin typeface="Calibri" panose="020F0502020204030204"/>
              </a:rPr>
              <a:t>Kapitola hodnotí původní modely, ve kterých ještě není uvažován vliv vakcinace. 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941381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/>
          <p:cNvSpPr/>
          <p:nvPr/>
        </p:nvSpPr>
        <p:spPr>
          <a:xfrm>
            <a:off x="75414" y="320512"/>
            <a:ext cx="12022318" cy="16927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átkodobé</a:t>
            </a:r>
            <a:r>
              <a:rPr kumimoji="0" lang="cs-CZ" sz="2600" b="1" i="0" u="none" strike="noStrike" kern="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edikce dle modelů SIR kalibrované na počátku března 2021 pro různé scénáře vývoje. Reálná data a vývoj potvrdily rychlé zpomalování epidemie odpovídající reprodukčnímu číslu &lt; 0,85. Mezi-týdenní pokles počtu nových případů dosahuje relativní změny </a:t>
            </a:r>
            <a:r>
              <a:rPr kumimoji="0" lang="cs-CZ" sz="2600" b="1" i="0" u="none" strike="noStrike" kern="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ětší než - 20%.  </a:t>
            </a:r>
            <a:endParaRPr kumimoji="0" lang="cs-CZ" sz="2600" b="0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Zástupný obsah 2">
            <a:extLst>
              <a:ext uri="{FF2B5EF4-FFF2-40B4-BE49-F238E27FC236}">
                <a16:creationId xmlns:a16="http://schemas.microsoft.com/office/drawing/2014/main" id="{BE5D9B15-9A2B-4DD9-96F4-1AF57AAB983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2246" y="2202485"/>
            <a:ext cx="10847093" cy="3990926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cs-CZ" sz="1800" b="1" dirty="0"/>
              <a:t>V návaznosti na novou kalibraci modelu 1. 4. byly připraveny nové scénáře</a:t>
            </a:r>
            <a:r>
              <a:rPr lang="en-US" sz="1800" b="1" dirty="0"/>
              <a:t>*</a:t>
            </a:r>
            <a:endParaRPr lang="cs-CZ" sz="1800" b="1" dirty="0"/>
          </a:p>
          <a:p>
            <a:r>
              <a:rPr lang="cs-CZ" sz="1800" b="1" dirty="0">
                <a:solidFill>
                  <a:srgbClr val="00B050"/>
                </a:solidFill>
              </a:rPr>
              <a:t>Scénář </a:t>
            </a:r>
            <a:r>
              <a:rPr lang="en-US" sz="1800" b="1" dirty="0">
                <a:solidFill>
                  <a:srgbClr val="00B050"/>
                </a:solidFill>
              </a:rPr>
              <a:t>A</a:t>
            </a:r>
            <a:r>
              <a:rPr lang="cs-CZ" sz="1800" b="1" dirty="0">
                <a:solidFill>
                  <a:srgbClr val="00B050"/>
                </a:solidFill>
              </a:rPr>
              <a:t> (scénář </a:t>
            </a:r>
            <a:r>
              <a:rPr lang="cs-CZ" sz="1800" b="1" dirty="0" smtClean="0">
                <a:solidFill>
                  <a:srgbClr val="00B050"/>
                </a:solidFill>
              </a:rPr>
              <a:t>intenzivního </a:t>
            </a:r>
            <a:r>
              <a:rPr lang="cs-CZ" sz="1800" b="1" dirty="0">
                <a:solidFill>
                  <a:srgbClr val="00B050"/>
                </a:solidFill>
              </a:rPr>
              <a:t>zpomalení epidemie; předpokládané R = </a:t>
            </a:r>
            <a:r>
              <a:rPr lang="en-US" sz="1800" b="1" dirty="0">
                <a:solidFill>
                  <a:srgbClr val="00B050"/>
                </a:solidFill>
              </a:rPr>
              <a:t>0,</a:t>
            </a:r>
            <a:r>
              <a:rPr lang="cs-CZ" sz="1800" b="1" dirty="0">
                <a:solidFill>
                  <a:srgbClr val="00B050"/>
                </a:solidFill>
              </a:rPr>
              <a:t>75)</a:t>
            </a:r>
          </a:p>
          <a:p>
            <a:pPr lvl="1"/>
            <a:r>
              <a:rPr lang="cs-CZ" sz="1600" dirty="0"/>
              <a:t>výrazný dopad opatření účinných od 1. 3. 2021, další zlepšení </a:t>
            </a:r>
            <a:r>
              <a:rPr lang="cs-CZ" sz="1600" dirty="0" smtClean="0"/>
              <a:t>v důsledku rozsáhlého testování </a:t>
            </a:r>
            <a:r>
              <a:rPr lang="cs-CZ" sz="1600" dirty="0"/>
              <a:t>a </a:t>
            </a:r>
            <a:r>
              <a:rPr lang="cs-CZ" sz="1600" dirty="0" smtClean="0"/>
              <a:t>trasování</a:t>
            </a:r>
            <a:endParaRPr lang="cs-CZ" sz="1600" dirty="0"/>
          </a:p>
          <a:p>
            <a:r>
              <a:rPr lang="cs-CZ" sz="1800" b="1" dirty="0">
                <a:solidFill>
                  <a:srgbClr val="0070C0"/>
                </a:solidFill>
              </a:rPr>
              <a:t>Scénář B (scénář zpomalení epidemie; předpokládané R = 0,85)</a:t>
            </a:r>
          </a:p>
          <a:p>
            <a:pPr lvl="1"/>
            <a:r>
              <a:rPr lang="cs-CZ" sz="1600" dirty="0"/>
              <a:t>výrazný dopad opatření účinných od 1. 3. 2021, odpovídá aktuálním hodnotám reprodukčního čísla </a:t>
            </a:r>
          </a:p>
          <a:p>
            <a:r>
              <a:rPr lang="cs-CZ" sz="1800" b="1" dirty="0">
                <a:solidFill>
                  <a:srgbClr val="FFC618"/>
                </a:solidFill>
              </a:rPr>
              <a:t>Scénář C (scénář stagnace epidemie, předpokládané R = 0,95)</a:t>
            </a:r>
          </a:p>
          <a:p>
            <a:pPr lvl="1"/>
            <a:r>
              <a:rPr lang="cs-CZ" sz="1600" dirty="0"/>
              <a:t>mírné opětovné zhoršení současné </a:t>
            </a:r>
            <a:r>
              <a:rPr lang="cs-CZ" sz="1600" dirty="0" smtClean="0"/>
              <a:t>situace, celková stagnace</a:t>
            </a:r>
            <a:endParaRPr lang="cs-CZ" sz="1600" dirty="0"/>
          </a:p>
          <a:p>
            <a:r>
              <a:rPr lang="cs-CZ" sz="1800" b="1" dirty="0">
                <a:solidFill>
                  <a:srgbClr val="FF0000"/>
                </a:solidFill>
              </a:rPr>
              <a:t>Scénář D (rizikový scénář, předpokládané R = 1,10)</a:t>
            </a:r>
          </a:p>
          <a:p>
            <a:pPr lvl="1"/>
            <a:r>
              <a:rPr lang="cs-CZ" sz="1600" dirty="0" smtClean="0"/>
              <a:t>Virtuální rizikový scénář pro opětovné </a:t>
            </a:r>
            <a:r>
              <a:rPr lang="cs-CZ" sz="1600" dirty="0"/>
              <a:t>zhoršení situace v důsledku možného snížení akceptace opatření populací, vlivu </a:t>
            </a:r>
            <a:r>
              <a:rPr lang="cs-CZ" sz="1600" dirty="0" err="1"/>
              <a:t>emergentních</a:t>
            </a:r>
            <a:r>
              <a:rPr lang="cs-CZ" sz="1600" dirty="0"/>
              <a:t> (mutovaných) variant </a:t>
            </a:r>
            <a:r>
              <a:rPr lang="cs-CZ" sz="1600" dirty="0" smtClean="0"/>
              <a:t>SARS-CoV-2, </a:t>
            </a:r>
            <a:r>
              <a:rPr lang="cs-CZ" sz="1600" dirty="0"/>
              <a:t>apod.</a:t>
            </a:r>
            <a:endParaRPr lang="cs-CZ" sz="1600" dirty="0"/>
          </a:p>
        </p:txBody>
      </p:sp>
      <p:sp>
        <p:nvSpPr>
          <p:cNvPr id="4" name="Šipka dolů 3"/>
          <p:cNvSpPr/>
          <p:nvPr/>
        </p:nvSpPr>
        <p:spPr>
          <a:xfrm>
            <a:off x="5506823" y="6288344"/>
            <a:ext cx="1159497" cy="42353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267E8C24-967E-41C5-A2B5-229406E471EE}"/>
              </a:ext>
            </a:extLst>
          </p:cNvPr>
          <p:cNvSpPr txBox="1"/>
          <p:nvPr/>
        </p:nvSpPr>
        <p:spPr>
          <a:xfrm>
            <a:off x="191114" y="5594546"/>
            <a:ext cx="1179091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cs-CZ" sz="1200" dirty="0"/>
              <a:t>* </a:t>
            </a:r>
            <a:r>
              <a:rPr lang="cs-CZ" sz="1200" dirty="0" smtClean="0"/>
              <a:t>Modely </a:t>
            </a:r>
            <a:r>
              <a:rPr lang="cs-CZ" sz="1200" dirty="0" err="1" smtClean="0"/>
              <a:t>odpovíd</a:t>
            </a:r>
            <a:r>
              <a:rPr lang="en-US" sz="1200" dirty="0" err="1"/>
              <a:t>aj</a:t>
            </a:r>
            <a:r>
              <a:rPr lang="cs-CZ" sz="1200" dirty="0"/>
              <a:t>í kalibraci reprodukčního čísla SIR epidemiologickým modelem pro krátkodobé predikce ÚZIS ČR v segmentu od 1</a:t>
            </a:r>
            <a:r>
              <a:rPr lang="en-US" sz="1200" dirty="0"/>
              <a:t>.</a:t>
            </a:r>
            <a:r>
              <a:rPr lang="cs-CZ" sz="1200" dirty="0"/>
              <a:t> 3. do 31. 3. 202</a:t>
            </a:r>
            <a:r>
              <a:rPr lang="en-US" sz="1200" dirty="0"/>
              <a:t>1</a:t>
            </a:r>
            <a:r>
              <a:rPr lang="cs-CZ" sz="1200" dirty="0"/>
              <a:t>, odhad 0,86 (0,79</a:t>
            </a:r>
            <a:r>
              <a:rPr lang="cs-CZ" sz="1200" dirty="0">
                <a:solidFill>
                  <a:srgbClr val="000000"/>
                </a:solidFill>
              </a:rPr>
              <a:t>–0</a:t>
            </a:r>
            <a:r>
              <a:rPr lang="cs-CZ" sz="1200" dirty="0"/>
              <a:t>,93), interval odpovídá 95% intervalu neurčitosti z odhadů získaných kalibrací modelu, kalibračním cílem byly denní přírůstky s vyjmutím volných dnů</a:t>
            </a:r>
            <a:r>
              <a:rPr lang="cs-CZ" sz="1200" dirty="0" smtClean="0"/>
              <a:t>. Scénáře </a:t>
            </a:r>
            <a:r>
              <a:rPr lang="cs-CZ" sz="1200" dirty="0"/>
              <a:t>pro různou dynamiku šíření epidemie v následujícím období jsou aplikovány od 24. 3. 2021.</a:t>
            </a:r>
          </a:p>
        </p:txBody>
      </p:sp>
    </p:spTree>
    <p:extLst>
      <p:ext uri="{BB962C8B-B14F-4D97-AF65-F5344CB8AC3E}">
        <p14:creationId xmlns:p14="http://schemas.microsoft.com/office/powerpoint/2010/main" val="178466959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ovéPole 18"/>
          <p:cNvSpPr txBox="1"/>
          <p:nvPr/>
        </p:nvSpPr>
        <p:spPr>
          <a:xfrm>
            <a:off x="141403" y="178376"/>
            <a:ext cx="1188491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louhodobější predikce vývoje zátěže nemocnic a zdravotních dopadů: modely kalkulující s rychlým efektem přijatých opatření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</a:t>
            </a:r>
            <a:r>
              <a:rPr kumimoji="0" lang="cs-CZ" sz="3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8.3. 2021</a:t>
            </a:r>
          </a:p>
        </p:txBody>
      </p:sp>
      <p:sp>
        <p:nvSpPr>
          <p:cNvPr id="5" name="Šipka dolů 4"/>
          <p:cNvSpPr/>
          <p:nvPr/>
        </p:nvSpPr>
        <p:spPr>
          <a:xfrm>
            <a:off x="5119203" y="1823935"/>
            <a:ext cx="1640138" cy="455724"/>
          </a:xfrm>
          <a:prstGeom prst="downArrow">
            <a:avLst/>
          </a:prstGeom>
          <a:solidFill>
            <a:srgbClr val="305983"/>
          </a:solidFill>
          <a:ln w="12700" cap="flat" cmpd="sng" algn="ctr">
            <a:solidFill>
              <a:srgbClr val="305983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/>
        </p:nvSpPr>
        <p:spPr>
          <a:xfrm>
            <a:off x="730220" y="2505549"/>
            <a:ext cx="104181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této variantě modelů </a:t>
            </a:r>
            <a:r>
              <a:rPr kumimoji="0" lang="cs-CZ" sz="2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yl zabudován předpoklad relativně rychlé změny </a:t>
            </a: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populačních trendech již od počátku března, s pozitivním dopadem na zátěž nemocnic od cca 14.3. 2021. Zátěž nemocnic </a:t>
            </a:r>
            <a:r>
              <a:rPr kumimoji="0" lang="cs-CZ" sz="2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lminovala </a:t>
            </a: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ž do poloviny března.  </a:t>
            </a:r>
          </a:p>
        </p:txBody>
      </p:sp>
      <p:sp>
        <p:nvSpPr>
          <p:cNvPr id="12" name="Šipka dolů 11"/>
          <p:cNvSpPr/>
          <p:nvPr/>
        </p:nvSpPr>
        <p:spPr>
          <a:xfrm>
            <a:off x="5119202" y="3931769"/>
            <a:ext cx="1640138" cy="455724"/>
          </a:xfrm>
          <a:prstGeom prst="downArrow">
            <a:avLst/>
          </a:prstGeom>
          <a:solidFill>
            <a:srgbClr val="305983"/>
          </a:solidFill>
          <a:ln w="12700" cap="flat" cmpd="sng" algn="ctr">
            <a:solidFill>
              <a:srgbClr val="305983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Obdélník 12"/>
          <p:cNvSpPr/>
          <p:nvPr/>
        </p:nvSpPr>
        <p:spPr>
          <a:xfrm>
            <a:off x="328476" y="4613384"/>
            <a:ext cx="11221588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2400" b="1" kern="0" dirty="0" smtClean="0">
                <a:solidFill>
                  <a:srgbClr val="C00000"/>
                </a:solidFill>
                <a:latin typeface="Calibri" panose="020F0502020204030204"/>
              </a:rPr>
              <a:t>Tyto scénáře se dle předpokladů naplnily a epidemie začala na populační úrovni významně zpomalovat již v 1. polovině března. Pozitivní dopad na zátěž nemocnic avšak nastal až po 15. březnu. </a:t>
            </a:r>
            <a:r>
              <a:rPr kumimoji="0" lang="cs-CZ" sz="2400" b="1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dely </a:t>
            </a:r>
            <a:r>
              <a:rPr lang="cs-CZ" sz="2400" b="1" kern="0" dirty="0" smtClean="0">
                <a:solidFill>
                  <a:srgbClr val="C00000"/>
                </a:solidFill>
                <a:latin typeface="Calibri" panose="020F0502020204030204"/>
              </a:rPr>
              <a:t>z konce února </a:t>
            </a:r>
            <a:r>
              <a:rPr kumimoji="0" lang="cs-CZ" sz="2400" b="1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sou nadále funkční a predikce rychlého poklesu zátěže se shodují</a:t>
            </a:r>
            <a:r>
              <a:rPr kumimoji="0" lang="cs-CZ" sz="2400" b="1" i="0" u="none" strike="noStrike" kern="0" cap="none" spc="0" normalizeH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 realitou. Modely byly nově doplněny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0" cap="none" spc="0" normalizeH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 předpokládaný efekt vakcinace </a:t>
            </a:r>
            <a:r>
              <a:rPr kumimoji="0" lang="cs-CZ" sz="2400" b="1" i="0" u="none" strike="noStrike" kern="0" cap="none" spc="0" normalizeH="0" noProof="0" dirty="0" err="1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niorních</a:t>
            </a:r>
            <a:r>
              <a:rPr kumimoji="0" lang="cs-CZ" sz="2400" b="1" i="0" u="none" strike="noStrike" kern="0" cap="none" spc="0" normalizeH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kupin. </a:t>
            </a:r>
            <a:endParaRPr kumimoji="0" lang="cs-CZ" sz="24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9207034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n-lt"/>
              </a:rPr>
              <a:t>Predikovaný počet </a:t>
            </a:r>
            <a:r>
              <a:rPr lang="cs-CZ" u="sng" dirty="0">
                <a:latin typeface="+mn-lt"/>
              </a:rPr>
              <a:t>aktuálně hospitalizovaných</a:t>
            </a:r>
            <a:endParaRPr lang="cs-CZ" dirty="0">
              <a:latin typeface="+mn-lt"/>
            </a:endParaRP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4881953E-570E-4182-9AFA-D9A699C6849D}"/>
              </a:ext>
            </a:extLst>
          </p:cNvPr>
          <p:cNvGraphicFramePr/>
          <p:nvPr>
            <p:custDataLst>
              <p:tags r:id="rId1"/>
            </p:custDataLst>
            <p:extLst/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7A7E4FAD-9A6D-4CCA-B14F-AA0E330C5B2E}"/>
              </a:ext>
            </a:extLst>
          </p:cNvPr>
          <p:cNvSpPr/>
          <p:nvPr/>
        </p:nvSpPr>
        <p:spPr>
          <a:xfrm>
            <a:off x="2999926" y="590503"/>
            <a:ext cx="221086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: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1533651" y="3049018"/>
            <a:ext cx="35958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aktuálně hospitalizovaných</a:t>
            </a:r>
          </a:p>
        </p:txBody>
      </p:sp>
      <p:sp>
        <p:nvSpPr>
          <p:cNvPr id="24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sp>
        <p:nvSpPr>
          <p:cNvPr id="19" name="TextovéPole 8">
            <a:extLst>
              <a:ext uri="{FF2B5EF4-FFF2-40B4-BE49-F238E27FC236}">
                <a16:creationId xmlns:a16="http://schemas.microsoft.com/office/drawing/2014/main" id="{98BCF740-215F-4BF1-81D2-071D0AC1B1C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8627864" y="2946636"/>
            <a:ext cx="2956844" cy="646331"/>
          </a:xfrm>
          <a:prstGeom prst="rect">
            <a:avLst/>
          </a:prstGeom>
          <a:solidFill>
            <a:srgbClr val="00B050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: silný dopad opatření, rychlé brždění</a:t>
            </a:r>
          </a:p>
        </p:txBody>
      </p:sp>
      <p:sp>
        <p:nvSpPr>
          <p:cNvPr id="20" name="TextovéPole 23">
            <a:extLst>
              <a:ext uri="{FF2B5EF4-FFF2-40B4-BE49-F238E27FC236}">
                <a16:creationId xmlns:a16="http://schemas.microsoft.com/office/drawing/2014/main" id="{2F9A611F-3D05-40D4-AA01-B765A1AD4B4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8627864" y="1935857"/>
            <a:ext cx="2956844" cy="646331"/>
          </a:xfrm>
          <a:prstGeom prst="rect">
            <a:avLst/>
          </a:prstGeom>
          <a:solidFill>
            <a:srgbClr val="305983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: slabší dopad opatření, pomalé </a:t>
            </a:r>
            <a:r>
              <a:rPr kumimoji="0" lang="cs-CZ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ržění</a:t>
            </a: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" name="Přímá spojnice 2"/>
          <p:cNvCxnSpPr/>
          <p:nvPr/>
        </p:nvCxnSpPr>
        <p:spPr>
          <a:xfrm flipH="1" flipV="1">
            <a:off x="1228436" y="4608945"/>
            <a:ext cx="6539346" cy="55419"/>
          </a:xfrm>
          <a:prstGeom prst="line">
            <a:avLst/>
          </a:prstGeom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9831686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n-lt"/>
              </a:rPr>
              <a:t>Predikovaný počet </a:t>
            </a:r>
            <a:r>
              <a:rPr lang="cs-CZ" u="sng" dirty="0">
                <a:latin typeface="+mn-lt"/>
              </a:rPr>
              <a:t>aktuálně hospitalizovaných</a:t>
            </a:r>
            <a:r>
              <a:rPr lang="en-US" u="sng" dirty="0">
                <a:latin typeface="+mn-lt"/>
              </a:rPr>
              <a:t> </a:t>
            </a:r>
            <a:r>
              <a:rPr lang="en-US" u="sng" dirty="0" err="1">
                <a:latin typeface="+mn-lt"/>
              </a:rPr>
              <a:t>na</a:t>
            </a:r>
            <a:r>
              <a:rPr lang="en-US" u="sng" dirty="0">
                <a:latin typeface="+mn-lt"/>
              </a:rPr>
              <a:t> JIP</a:t>
            </a:r>
            <a:endParaRPr lang="cs-CZ" dirty="0">
              <a:latin typeface="+mn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1924783" y="3049018"/>
            <a:ext cx="43781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aktuálně hospitalizovaných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JIP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0B364D7-B9DD-4ACF-A330-0F27E8BA3BF5}"/>
              </a:ext>
            </a:extLst>
          </p:cNvPr>
          <p:cNvSpPr/>
          <p:nvPr/>
        </p:nvSpPr>
        <p:spPr>
          <a:xfrm>
            <a:off x="2999926" y="590503"/>
            <a:ext cx="221086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:</a:t>
            </a:r>
          </a:p>
        </p:txBody>
      </p:sp>
      <p:sp>
        <p:nvSpPr>
          <p:cNvPr id="12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ADB44BF5-DF2B-43BD-A159-972F53E32F46}"/>
              </a:ext>
            </a:extLst>
          </p:cNvPr>
          <p:cNvGraphicFramePr/>
          <p:nvPr>
            <p:custDataLst>
              <p:tags r:id="rId1"/>
            </p:custDataLst>
            <p:extLst/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9" name="Přímá spojnice 8"/>
          <p:cNvCxnSpPr/>
          <p:nvPr/>
        </p:nvCxnSpPr>
        <p:spPr>
          <a:xfrm flipH="1" flipV="1">
            <a:off x="1209964" y="4645889"/>
            <a:ext cx="6539346" cy="55419"/>
          </a:xfrm>
          <a:prstGeom prst="line">
            <a:avLst/>
          </a:prstGeom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ovéPole 8">
            <a:extLst>
              <a:ext uri="{FF2B5EF4-FFF2-40B4-BE49-F238E27FC236}">
                <a16:creationId xmlns:a16="http://schemas.microsoft.com/office/drawing/2014/main" id="{98BCF740-215F-4BF1-81D2-071D0AC1B1C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8627864" y="2946636"/>
            <a:ext cx="2956844" cy="646331"/>
          </a:xfrm>
          <a:prstGeom prst="rect">
            <a:avLst/>
          </a:prstGeom>
          <a:solidFill>
            <a:srgbClr val="00B050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: silný dopad opatření, rychlé brždění</a:t>
            </a:r>
          </a:p>
        </p:txBody>
      </p:sp>
      <p:sp>
        <p:nvSpPr>
          <p:cNvPr id="15" name="TextovéPole 23">
            <a:extLst>
              <a:ext uri="{FF2B5EF4-FFF2-40B4-BE49-F238E27FC236}">
                <a16:creationId xmlns:a16="http://schemas.microsoft.com/office/drawing/2014/main" id="{2F9A611F-3D05-40D4-AA01-B765A1AD4B4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8627864" y="1935857"/>
            <a:ext cx="2956844" cy="646331"/>
          </a:xfrm>
          <a:prstGeom prst="rect">
            <a:avLst/>
          </a:prstGeom>
          <a:solidFill>
            <a:srgbClr val="305983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: slabší dopad opatření, pomalé </a:t>
            </a:r>
            <a:r>
              <a:rPr kumimoji="0" lang="cs-CZ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ržění</a:t>
            </a: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6049299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/>
              <a:t>Predikovaný počet </a:t>
            </a:r>
            <a:r>
              <a:rPr lang="cs-CZ" u="sng" dirty="0"/>
              <a:t>nových hospitalizačních</a:t>
            </a:r>
            <a:r>
              <a:rPr lang="cs-CZ" dirty="0"/>
              <a:t> případů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1828607" y="3049018"/>
            <a:ext cx="41857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nových hospitalizačních případů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93BCB8F-8668-482B-AE73-37F5C6048A3E}"/>
              </a:ext>
            </a:extLst>
          </p:cNvPr>
          <p:cNvSpPr/>
          <p:nvPr/>
        </p:nvSpPr>
        <p:spPr>
          <a:xfrm>
            <a:off x="2999926" y="590503"/>
            <a:ext cx="221086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:</a:t>
            </a:r>
          </a:p>
        </p:txBody>
      </p:sp>
      <p:sp>
        <p:nvSpPr>
          <p:cNvPr id="15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130BB482-BBA1-4B51-97C3-EC21F9C9ABDD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8114984"/>
              </p:ext>
            </p:extLst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5" name="TextovéPole 8">
            <a:extLst>
              <a:ext uri="{FF2B5EF4-FFF2-40B4-BE49-F238E27FC236}">
                <a16:creationId xmlns:a16="http://schemas.microsoft.com/office/drawing/2014/main" id="{B06FFCE7-EE25-45B1-A0E1-477FF98632A9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8831738" y="2376052"/>
            <a:ext cx="2956844" cy="584775"/>
          </a:xfrm>
          <a:prstGeom prst="rect">
            <a:avLst/>
          </a:prstGeom>
          <a:solidFill>
            <a:srgbClr val="00B050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rPr>
              <a:t>Scénář C: </a:t>
            </a:r>
            <a:r>
              <a:rPr lang="cs-CZ" sz="1600" b="1" dirty="0">
                <a:solidFill>
                  <a:prstClr val="white"/>
                </a:solidFill>
              </a:rPr>
              <a:t>silný dopad opatření, rychlé brždění</a:t>
            </a:r>
            <a:endParaRPr lang="cs-CZ" sz="1600" b="1" dirty="0">
              <a:solidFill>
                <a:prstClr val="white"/>
              </a:solidFill>
            </a:endParaRPr>
          </a:p>
        </p:txBody>
      </p:sp>
      <p:sp>
        <p:nvSpPr>
          <p:cNvPr id="26" name="TextovéPole 23">
            <a:extLst>
              <a:ext uri="{FF2B5EF4-FFF2-40B4-BE49-F238E27FC236}">
                <a16:creationId xmlns:a16="http://schemas.microsoft.com/office/drawing/2014/main" id="{E224CE9E-101B-407E-A701-C5A64FA87868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8831738" y="1365273"/>
            <a:ext cx="2956844" cy="584775"/>
          </a:xfrm>
          <a:prstGeom prst="rect">
            <a:avLst/>
          </a:prstGeom>
          <a:solidFill>
            <a:srgbClr val="305983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rPr>
              <a:t>Scénář B: </a:t>
            </a:r>
            <a:r>
              <a:rPr lang="cs-CZ" sz="1600" b="1" dirty="0">
                <a:solidFill>
                  <a:prstClr val="white"/>
                </a:solidFill>
              </a:rPr>
              <a:t>slabší dopad opatření, pomalé </a:t>
            </a:r>
            <a:r>
              <a:rPr lang="cs-CZ" sz="1600" b="1" dirty="0" err="1" smtClean="0">
                <a:solidFill>
                  <a:prstClr val="white"/>
                </a:solidFill>
              </a:rPr>
              <a:t>bržění</a:t>
            </a:r>
            <a:endParaRPr lang="cs-CZ" sz="1600" b="1" dirty="0">
              <a:solidFill>
                <a:prstClr val="white"/>
              </a:solidFill>
            </a:endParaRPr>
          </a:p>
        </p:txBody>
      </p:sp>
      <p:sp>
        <p:nvSpPr>
          <p:cNvPr id="28" name="TextovéPole 30">
            <a:extLst>
              <a:ext uri="{FF2B5EF4-FFF2-40B4-BE49-F238E27FC236}">
                <a16:creationId xmlns:a16="http://schemas.microsoft.com/office/drawing/2014/main" id="{9951F7E6-900F-4ACA-9600-0B1BB01CE25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831738" y="3333009"/>
            <a:ext cx="2956844" cy="338554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V: 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kcinace/rychlý efekt</a:t>
            </a:r>
          </a:p>
        </p:txBody>
      </p:sp>
    </p:spTree>
    <p:extLst>
      <p:ext uri="{BB962C8B-B14F-4D97-AF65-F5344CB8AC3E}">
        <p14:creationId xmlns:p14="http://schemas.microsoft.com/office/powerpoint/2010/main" val="14129255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/>
              <a:t>Predikovaný počet </a:t>
            </a:r>
            <a:r>
              <a:rPr lang="cs-CZ" u="sng" dirty="0"/>
              <a:t>zemřelých</a:t>
            </a:r>
            <a:endParaRPr lang="cs-CZ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712917" y="3049018"/>
            <a:ext cx="195438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zemřelých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5F94ECE-5E3C-436E-B567-3B2634216AE7}"/>
              </a:ext>
            </a:extLst>
          </p:cNvPr>
          <p:cNvSpPr/>
          <p:nvPr/>
        </p:nvSpPr>
        <p:spPr>
          <a:xfrm>
            <a:off x="2999926" y="590503"/>
            <a:ext cx="221086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:</a:t>
            </a:r>
          </a:p>
        </p:txBody>
      </p: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66216535-8B7F-43D5-81D9-9F3ED2725AE3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3890944"/>
              </p:ext>
            </p:extLst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2" name="TextovéPole 8">
            <a:extLst>
              <a:ext uri="{FF2B5EF4-FFF2-40B4-BE49-F238E27FC236}">
                <a16:creationId xmlns:a16="http://schemas.microsoft.com/office/drawing/2014/main" id="{B06FFCE7-EE25-45B1-A0E1-477FF98632A9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8831738" y="2376052"/>
            <a:ext cx="2956844" cy="584775"/>
          </a:xfrm>
          <a:prstGeom prst="rect">
            <a:avLst/>
          </a:prstGeom>
          <a:solidFill>
            <a:srgbClr val="00B050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rPr>
              <a:t>Scénář C: </a:t>
            </a:r>
            <a:r>
              <a:rPr lang="cs-CZ" sz="1600" b="1" dirty="0">
                <a:solidFill>
                  <a:prstClr val="white"/>
                </a:solidFill>
              </a:rPr>
              <a:t>silný dopad opatření, rychlé brždění</a:t>
            </a:r>
            <a:endParaRPr lang="cs-CZ" sz="1600" b="1" dirty="0">
              <a:solidFill>
                <a:prstClr val="white"/>
              </a:solidFill>
            </a:endParaRPr>
          </a:p>
        </p:txBody>
      </p:sp>
      <p:sp>
        <p:nvSpPr>
          <p:cNvPr id="15" name="TextovéPole 30">
            <a:extLst>
              <a:ext uri="{FF2B5EF4-FFF2-40B4-BE49-F238E27FC236}">
                <a16:creationId xmlns:a16="http://schemas.microsoft.com/office/drawing/2014/main" id="{9951F7E6-900F-4ACA-9600-0B1BB01CE25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831738" y="3333009"/>
            <a:ext cx="2956844" cy="338554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V: 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kcinace/rychlý efekt</a:t>
            </a:r>
          </a:p>
        </p:txBody>
      </p:sp>
    </p:spTree>
    <p:extLst>
      <p:ext uri="{BB962C8B-B14F-4D97-AF65-F5344CB8AC3E}">
        <p14:creationId xmlns:p14="http://schemas.microsoft.com/office/powerpoint/2010/main" val="398828072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ovéPole 18"/>
          <p:cNvSpPr txBox="1"/>
          <p:nvPr/>
        </p:nvSpPr>
        <p:spPr>
          <a:xfrm>
            <a:off x="267855" y="219993"/>
            <a:ext cx="11542130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 přes pozitivní trendy a populační brždění epidemie </a:t>
            </a:r>
            <a:r>
              <a:rPr kumimoji="0" lang="cs-CZ" sz="3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ále </a:t>
            </a:r>
            <a:r>
              <a:rPr kumimoji="0" lang="cs-CZ" sz="3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nejvíce zatížených okresech a regionech ČR přetrvávají </a:t>
            </a:r>
            <a:r>
              <a:rPr kumimoji="0" lang="cs-CZ" sz="3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vé </a:t>
            </a:r>
            <a:r>
              <a:rPr kumimoji="0" lang="cs-CZ" sz="3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dnoty klíčových indikátorů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4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lvl="0" algn="ctr">
              <a:defRPr/>
            </a:pPr>
            <a:r>
              <a:rPr lang="cs-CZ" sz="2400" dirty="0">
                <a:latin typeface="Arial" panose="020B0604020202020204"/>
              </a:rPr>
              <a:t>Mezi regiony stále existují významné rozdíly, které stále odpovídají gradientu rostoucího rizika „západ -&gt; východ“ země. </a:t>
            </a:r>
            <a:endParaRPr lang="cs-CZ" sz="2400" dirty="0" smtClean="0">
              <a:latin typeface="Arial" panose="020B0604020202020204"/>
            </a:endParaRPr>
          </a:p>
          <a:p>
            <a:pPr lvl="0" algn="ctr">
              <a:defRPr/>
            </a:pPr>
            <a:endParaRPr lang="cs-CZ" sz="2400" dirty="0">
              <a:latin typeface="Arial" panose="020B0604020202020204"/>
            </a:endParaRPr>
          </a:p>
          <a:p>
            <a:pPr lvl="0" algn="ctr">
              <a:defRPr/>
            </a:pPr>
            <a:r>
              <a:rPr lang="cs-CZ" sz="2400" dirty="0" smtClean="0">
                <a:latin typeface="Arial" panose="020B0604020202020204"/>
              </a:rPr>
              <a:t>Pod </a:t>
            </a:r>
            <a:r>
              <a:rPr lang="cs-CZ" sz="2400" dirty="0">
                <a:latin typeface="Arial" panose="020B0604020202020204"/>
              </a:rPr>
              <a:t>mezinárodně používanou hranici 100 nových případů na  100 tis. obyvatel dlouhodobě klesly hodnoty v Karlovarském a Královéhradeckém kraji, silně klesá kraj Plzeňský. </a:t>
            </a:r>
            <a:endParaRPr lang="cs-CZ" sz="2400" dirty="0">
              <a:latin typeface="Arial" panose="020B0604020202020204"/>
            </a:endParaRPr>
          </a:p>
        </p:txBody>
      </p:sp>
      <p:sp>
        <p:nvSpPr>
          <p:cNvPr id="6" name="Šipka dolů 5"/>
          <p:cNvSpPr/>
          <p:nvPr/>
        </p:nvSpPr>
        <p:spPr>
          <a:xfrm>
            <a:off x="5161774" y="5161272"/>
            <a:ext cx="1950226" cy="482989"/>
          </a:xfrm>
          <a:prstGeom prst="downArrow">
            <a:avLst/>
          </a:prstGeom>
          <a:solidFill>
            <a:srgbClr val="305983"/>
          </a:solidFill>
          <a:ln w="12700" cap="flat" cmpd="sng" algn="ctr">
            <a:solidFill>
              <a:srgbClr val="305983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Šipka dolů 6"/>
          <p:cNvSpPr/>
          <p:nvPr/>
        </p:nvSpPr>
        <p:spPr>
          <a:xfrm>
            <a:off x="5161774" y="1806901"/>
            <a:ext cx="1950226" cy="482989"/>
          </a:xfrm>
          <a:prstGeom prst="downArrow">
            <a:avLst/>
          </a:prstGeom>
          <a:solidFill>
            <a:srgbClr val="305983"/>
          </a:solidFill>
          <a:ln w="12700" cap="flat" cmpd="sng" algn="ctr">
            <a:solidFill>
              <a:srgbClr val="305983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816703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9211" y="0"/>
            <a:ext cx="10125069" cy="576000"/>
          </a:xfrm>
        </p:spPr>
        <p:txBody>
          <a:bodyPr/>
          <a:lstStyle/>
          <a:p>
            <a:r>
              <a:rPr lang="cs-CZ" dirty="0"/>
              <a:t>7 denní počet nových případů (na 100 000 obyv.)</a:t>
            </a:r>
            <a:r>
              <a:rPr lang="en-US" dirty="0"/>
              <a:t> v </a:t>
            </a:r>
            <a:r>
              <a:rPr lang="en-US" dirty="0" err="1"/>
              <a:t>okresech</a:t>
            </a:r>
            <a:endParaRPr lang="cs-CZ" dirty="0">
              <a:latin typeface="+mj-lt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BE080D6-FC53-427A-9C73-FAC7AD1D2FCD}"/>
              </a:ext>
            </a:extLst>
          </p:cNvPr>
          <p:cNvSpPr/>
          <p:nvPr/>
        </p:nvSpPr>
        <p:spPr>
          <a:xfrm>
            <a:off x="10855468" y="1492899"/>
            <a:ext cx="180000" cy="180000"/>
          </a:xfrm>
          <a:prstGeom prst="rect">
            <a:avLst/>
          </a:prstGeom>
          <a:solidFill>
            <a:srgbClr val="2B83BA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E4925A4-86A9-42E1-B474-EC1CB00F06FB}"/>
              </a:ext>
            </a:extLst>
          </p:cNvPr>
          <p:cNvSpPr/>
          <p:nvPr/>
        </p:nvSpPr>
        <p:spPr>
          <a:xfrm>
            <a:off x="10855468" y="1801625"/>
            <a:ext cx="180000" cy="180000"/>
          </a:xfrm>
          <a:prstGeom prst="rect">
            <a:avLst/>
          </a:prstGeom>
          <a:solidFill>
            <a:srgbClr val="80BFAB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31920F6-822D-4D8E-9016-3491B8DD67F4}"/>
              </a:ext>
            </a:extLst>
          </p:cNvPr>
          <p:cNvSpPr/>
          <p:nvPr/>
        </p:nvSpPr>
        <p:spPr>
          <a:xfrm>
            <a:off x="10855468" y="2110351"/>
            <a:ext cx="180000" cy="180000"/>
          </a:xfrm>
          <a:prstGeom prst="rect">
            <a:avLst/>
          </a:prstGeom>
          <a:solidFill>
            <a:srgbClr val="C7E8AD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3996B81-667A-401C-967B-28C2A48E23CC}"/>
              </a:ext>
            </a:extLst>
          </p:cNvPr>
          <p:cNvSpPr/>
          <p:nvPr/>
        </p:nvSpPr>
        <p:spPr>
          <a:xfrm>
            <a:off x="10855468" y="2419077"/>
            <a:ext cx="180000" cy="180000"/>
          </a:xfrm>
          <a:prstGeom prst="rect">
            <a:avLst/>
          </a:prstGeom>
          <a:solidFill>
            <a:srgbClr val="E2E22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2DB380-5F7C-460F-BFDA-86D337A8CFE1}"/>
              </a:ext>
            </a:extLst>
          </p:cNvPr>
          <p:cNvSpPr/>
          <p:nvPr/>
        </p:nvSpPr>
        <p:spPr>
          <a:xfrm>
            <a:off x="10855468" y="2727803"/>
            <a:ext cx="180000" cy="180000"/>
          </a:xfrm>
          <a:prstGeom prst="rect">
            <a:avLst/>
          </a:prstGeom>
          <a:solidFill>
            <a:srgbClr val="FEAB4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08FD43E-EE03-4737-A366-C1F7D775579E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1095225" y="1398233"/>
            <a:ext cx="7040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lt; 1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B654345-6D6F-4D0F-813B-A10AFB3293A9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1095225" y="1709523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00 – 2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ECECFEB-BD0B-4FAF-9B8B-C8A903E5C1D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1095225" y="2020813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0 – 3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14133F7-D8D6-4D0C-B56B-CAC8C40EE252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1095225" y="2332103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0 – 4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0DDF93-0D60-4DCB-A93B-533691C52B6E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1095225" y="2643393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00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B48D847-A97F-4AAA-A08B-55218BF2B7F5}"/>
              </a:ext>
            </a:extLst>
          </p:cNvPr>
          <p:cNvSpPr/>
          <p:nvPr/>
        </p:nvSpPr>
        <p:spPr>
          <a:xfrm>
            <a:off x="10855468" y="3036528"/>
            <a:ext cx="180000" cy="180000"/>
          </a:xfrm>
          <a:prstGeom prst="rect">
            <a:avLst/>
          </a:prstGeom>
          <a:solidFill>
            <a:srgbClr val="F12E15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0FDD93D-9CA2-41FC-953B-E1DA3769E12D}"/>
              </a:ext>
            </a:extLst>
          </p:cNvPr>
          <p:cNvSpPr/>
          <p:nvPr/>
        </p:nvSpPr>
        <p:spPr>
          <a:xfrm>
            <a:off x="10855468" y="3345252"/>
            <a:ext cx="180000" cy="180000"/>
          </a:xfrm>
          <a:prstGeom prst="rect">
            <a:avLst/>
          </a:prstGeom>
          <a:solidFill>
            <a:srgbClr val="AA131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07D8BB-886C-4DD8-BE83-D1D89236D7C4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1095225" y="2954683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6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2588280-9570-4C47-854B-55E5855520E2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11095225" y="3265975"/>
            <a:ext cx="7040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gt; 6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extovéPole 1"/>
          <p:cNvSpPr txBox="1"/>
          <p:nvPr/>
        </p:nvSpPr>
        <p:spPr>
          <a:xfrm>
            <a:off x="739169" y="5085229"/>
            <a:ext cx="1038955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ývoj </a:t>
            </a:r>
            <a:r>
              <a:rPr kumimoji="0" lang="cs-CZ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e většině 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kresů je pozitivní a epidemie klesá, problematické okresy identifikuje zejména vysoká incidence a růstový vývoj v čase </a:t>
            </a:r>
          </a:p>
        </p:txBody>
      </p:sp>
      <p:pic>
        <p:nvPicPr>
          <p:cNvPr id="23" name="Picture 3" descr="Map&#10;&#10;Description automatically generated">
            <a:extLst>
              <a:ext uri="{FF2B5EF4-FFF2-40B4-BE49-F238E27FC236}">
                <a16:creationId xmlns:a16="http://schemas.microsoft.com/office/drawing/2014/main" id="{552BC8D4-27CE-4092-8897-D8E087733590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 rotWithShape="1">
          <a:blip r:embed="rId1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535" r="20396"/>
          <a:stretch/>
        </p:blipFill>
        <p:spPr>
          <a:xfrm>
            <a:off x="3726318" y="1428605"/>
            <a:ext cx="3472173" cy="2176655"/>
          </a:xfrm>
          <a:prstGeom prst="rect">
            <a:avLst/>
          </a:prstGeom>
        </p:spPr>
      </p:pic>
      <p:sp>
        <p:nvSpPr>
          <p:cNvPr id="24" name="TextBox 29">
            <a:extLst>
              <a:ext uri="{FF2B5EF4-FFF2-40B4-BE49-F238E27FC236}">
                <a16:creationId xmlns:a16="http://schemas.microsoft.com/office/drawing/2014/main" id="{743A9488-A89A-4239-AEC7-502354C0E771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209211" y="1071090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.4.2021</a:t>
            </a:r>
          </a:p>
        </p:txBody>
      </p:sp>
      <p:pic>
        <p:nvPicPr>
          <p:cNvPr id="26" name="Picture 2" descr="Map&#10;&#10;Description automatically generated">
            <a:extLst>
              <a:ext uri="{FF2B5EF4-FFF2-40B4-BE49-F238E27FC236}">
                <a16:creationId xmlns:a16="http://schemas.microsoft.com/office/drawing/2014/main" id="{2BF8348F-2FD1-41EE-84CE-5378A7AF7240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 rotWithShape="1">
          <a:blip r:embed="rId1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27" r="10074"/>
          <a:stretch/>
        </p:blipFill>
        <p:spPr>
          <a:xfrm>
            <a:off x="66017" y="1476362"/>
            <a:ext cx="3476834" cy="2176655"/>
          </a:xfrm>
          <a:prstGeom prst="rect">
            <a:avLst/>
          </a:prstGeom>
        </p:spPr>
      </p:pic>
      <p:sp>
        <p:nvSpPr>
          <p:cNvPr id="27" name="TextBox 29">
            <a:extLst>
              <a:ext uri="{FF2B5EF4-FFF2-40B4-BE49-F238E27FC236}">
                <a16:creationId xmlns:a16="http://schemas.microsoft.com/office/drawing/2014/main" id="{87E38982-83E6-4A31-90DE-9A4BA4279091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3726318" y="1028495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1.4.2021</a:t>
            </a:r>
          </a:p>
        </p:txBody>
      </p:sp>
      <p:sp>
        <p:nvSpPr>
          <p:cNvPr id="25" name="TextBox 29">
            <a:extLst>
              <a:ext uri="{FF2B5EF4-FFF2-40B4-BE49-F238E27FC236}">
                <a16:creationId xmlns:a16="http://schemas.microsoft.com/office/drawing/2014/main" id="{7CA4E8C6-F25D-45BE-B535-EB83BEB6C699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7352482" y="1028495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4.4.2021</a:t>
            </a:r>
          </a:p>
        </p:txBody>
      </p:sp>
      <p:pic>
        <p:nvPicPr>
          <p:cNvPr id="4" name="Picture 3" descr="Map&#10;&#10;Description automatically generated">
            <a:extLst>
              <a:ext uri="{FF2B5EF4-FFF2-40B4-BE49-F238E27FC236}">
                <a16:creationId xmlns:a16="http://schemas.microsoft.com/office/drawing/2014/main" id="{DEA6C9BE-126C-428D-BDDB-84A110871151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 rotWithShape="1">
          <a:blip r:embed="rId1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41" r="9871"/>
          <a:stretch/>
        </p:blipFill>
        <p:spPr>
          <a:xfrm>
            <a:off x="7132191" y="1438860"/>
            <a:ext cx="3425406" cy="21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46818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B1276870-99EE-4D94-8977-D4A2442A6BFE}"/>
              </a:ext>
            </a:extLst>
          </p:cNvPr>
          <p:cNvGraphicFramePr/>
          <p:nvPr>
            <p:extLst/>
          </p:nvPr>
        </p:nvGraphicFramePr>
        <p:xfrm>
          <a:off x="556549" y="3273786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2400" dirty="0">
                <a:latin typeface="+mj-lt"/>
              </a:rPr>
              <a:t>Predikce ve čtyřech scénářích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399F9D63-C378-4018-B97A-C6FF1B38BBF2}"/>
              </a:ext>
            </a:extLst>
          </p:cNvPr>
          <p:cNvSpPr txBox="1"/>
          <p:nvPr/>
        </p:nvSpPr>
        <p:spPr>
          <a:xfrm>
            <a:off x="214075" y="1050497"/>
            <a:ext cx="38671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 dle hodnoty reprodukčního čísla 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69B8FCCD-AB42-495D-8900-E0EDAF4D3695}"/>
              </a:ext>
            </a:extLst>
          </p:cNvPr>
          <p:cNvSpPr txBox="1"/>
          <p:nvPr/>
        </p:nvSpPr>
        <p:spPr>
          <a:xfrm>
            <a:off x="4792918" y="638978"/>
            <a:ext cx="5031486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vý scénář, R = 1,10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915432FB-02C6-4A48-823E-AAFFD38F04CD}"/>
              </a:ext>
            </a:extLst>
          </p:cNvPr>
          <p:cNvSpPr txBox="1"/>
          <p:nvPr/>
        </p:nvSpPr>
        <p:spPr>
          <a:xfrm>
            <a:off x="4792918" y="1947883"/>
            <a:ext cx="5031486" cy="369332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</a:t>
            </a: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tenzivního zpomalení 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R = 0,75)</a:t>
            </a:r>
          </a:p>
        </p:txBody>
      </p:sp>
      <p:cxnSp>
        <p:nvCxnSpPr>
          <p:cNvPr id="10" name="Přímá spojnice se šipkou 9">
            <a:extLst>
              <a:ext uri="{FF2B5EF4-FFF2-40B4-BE49-F238E27FC236}">
                <a16:creationId xmlns:a16="http://schemas.microsoft.com/office/drawing/2014/main" id="{2FBBF0DE-751C-4A8D-9688-745F518DEA63}"/>
              </a:ext>
            </a:extLst>
          </p:cNvPr>
          <p:cNvCxnSpPr/>
          <p:nvPr/>
        </p:nvCxnSpPr>
        <p:spPr>
          <a:xfrm flipV="1">
            <a:off x="4154743" y="864532"/>
            <a:ext cx="523875" cy="56949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Přímá spojnice se šipkou 10">
            <a:extLst>
              <a:ext uri="{FF2B5EF4-FFF2-40B4-BE49-F238E27FC236}">
                <a16:creationId xmlns:a16="http://schemas.microsoft.com/office/drawing/2014/main" id="{427BD7B2-178E-45A0-B634-921C0C8A629F}"/>
              </a:ext>
            </a:extLst>
          </p:cNvPr>
          <p:cNvCxnSpPr/>
          <p:nvPr/>
        </p:nvCxnSpPr>
        <p:spPr>
          <a:xfrm>
            <a:off x="4154743" y="1503447"/>
            <a:ext cx="523875" cy="64073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6">
            <a:extLst>
              <a:ext uri="{FF2B5EF4-FFF2-40B4-BE49-F238E27FC236}">
                <a16:creationId xmlns:a16="http://schemas.microsoft.com/office/drawing/2014/main" id="{69CEF138-18A8-4271-9FEF-402DB7C25B86}"/>
              </a:ext>
            </a:extLst>
          </p:cNvPr>
          <p:cNvSpPr txBox="1"/>
          <p:nvPr/>
        </p:nvSpPr>
        <p:spPr>
          <a:xfrm>
            <a:off x="276507" y="2177655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D297EC6B-32AF-493A-B2A7-B285C8CEF178}"/>
              </a:ext>
            </a:extLst>
          </p:cNvPr>
          <p:cNvSpPr txBox="1"/>
          <p:nvPr/>
        </p:nvSpPr>
        <p:spPr>
          <a:xfrm>
            <a:off x="1619306" y="2842802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10</a:t>
            </a: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3C9B186B-8163-428B-A364-E90D3144B57D}"/>
              </a:ext>
            </a:extLst>
          </p:cNvPr>
          <p:cNvSpPr/>
          <p:nvPr/>
        </p:nvSpPr>
        <p:spPr>
          <a:xfrm>
            <a:off x="5096689" y="2895478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35669B2F-D612-4664-B709-53D98132D57A}"/>
              </a:ext>
            </a:extLst>
          </p:cNvPr>
          <p:cNvSpPr txBox="1"/>
          <p:nvPr/>
        </p:nvSpPr>
        <p:spPr>
          <a:xfrm>
            <a:off x="5447296" y="2872855"/>
            <a:ext cx="15734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álná data z ISIN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9" name="Přímá spojnice 18">
            <a:extLst>
              <a:ext uri="{FF2B5EF4-FFF2-40B4-BE49-F238E27FC236}">
                <a16:creationId xmlns:a16="http://schemas.microsoft.com/office/drawing/2014/main" id="{76B85254-1A7D-488E-9830-3F99A7742F43}"/>
              </a:ext>
            </a:extLst>
          </p:cNvPr>
          <p:cNvCxnSpPr>
            <a:cxnSpLocks/>
          </p:cNvCxnSpPr>
          <p:nvPr/>
        </p:nvCxnSpPr>
        <p:spPr>
          <a:xfrm>
            <a:off x="1324561" y="2997837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7DE1342D-EB8B-4B07-AF76-9D71853830EC}"/>
              </a:ext>
            </a:extLst>
          </p:cNvPr>
          <p:cNvSpPr txBox="1"/>
          <p:nvPr/>
        </p:nvSpPr>
        <p:spPr>
          <a:xfrm>
            <a:off x="1619306" y="3068022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5</a:t>
            </a:r>
          </a:p>
        </p:txBody>
      </p: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E4706C2C-C343-4CD4-BC4A-ED6979CFCE85}"/>
              </a:ext>
            </a:extLst>
          </p:cNvPr>
          <p:cNvCxnSpPr>
            <a:cxnSpLocks/>
          </p:cNvCxnSpPr>
          <p:nvPr/>
        </p:nvCxnSpPr>
        <p:spPr>
          <a:xfrm>
            <a:off x="1324561" y="3221144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095375A6-BA75-44A5-A84A-36A5A097F6F7}"/>
              </a:ext>
            </a:extLst>
          </p:cNvPr>
          <p:cNvSpPr txBox="1"/>
          <p:nvPr/>
        </p:nvSpPr>
        <p:spPr>
          <a:xfrm>
            <a:off x="1619306" y="3293242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85</a:t>
            </a:r>
          </a:p>
        </p:txBody>
      </p:sp>
      <p:cxnSp>
        <p:nvCxnSpPr>
          <p:cNvPr id="23" name="Přímá spojnice 22">
            <a:extLst>
              <a:ext uri="{FF2B5EF4-FFF2-40B4-BE49-F238E27FC236}">
                <a16:creationId xmlns:a16="http://schemas.microsoft.com/office/drawing/2014/main" id="{AB76497E-F494-41CE-B6CE-8CEE02B36A8F}"/>
              </a:ext>
            </a:extLst>
          </p:cNvPr>
          <p:cNvCxnSpPr>
            <a:cxnSpLocks/>
          </p:cNvCxnSpPr>
          <p:nvPr/>
        </p:nvCxnSpPr>
        <p:spPr>
          <a:xfrm>
            <a:off x="1324561" y="3444451"/>
            <a:ext cx="237744" cy="0"/>
          </a:xfrm>
          <a:prstGeom prst="line">
            <a:avLst/>
          </a:prstGeom>
          <a:ln w="38100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24">
            <a:extLst>
              <a:ext uri="{FF2B5EF4-FFF2-40B4-BE49-F238E27FC236}">
                <a16:creationId xmlns:a16="http://schemas.microsoft.com/office/drawing/2014/main" id="{E453CAE8-274D-40EB-837F-1DFE06B3FC2E}"/>
              </a:ext>
            </a:extLst>
          </p:cNvPr>
          <p:cNvCxnSpPr>
            <a:cxnSpLocks/>
          </p:cNvCxnSpPr>
          <p:nvPr/>
        </p:nvCxnSpPr>
        <p:spPr>
          <a:xfrm>
            <a:off x="1324561" y="3667757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66CCB7E5-B893-4905-A783-B3A264BEFB90}"/>
              </a:ext>
            </a:extLst>
          </p:cNvPr>
          <p:cNvSpPr txBox="1"/>
          <p:nvPr/>
        </p:nvSpPr>
        <p:spPr>
          <a:xfrm>
            <a:off x="10547606" y="3229585"/>
            <a:ext cx="1544387" cy="101566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0.4.2021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3 582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edikovaných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 038 predikovaných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 305 predikovaných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 708 predikovaných</a:t>
            </a: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266137AA-9182-40A3-A142-5179882050AD}"/>
              </a:ext>
            </a:extLst>
          </p:cNvPr>
          <p:cNvSpPr txBox="1"/>
          <p:nvPr/>
        </p:nvSpPr>
        <p:spPr>
          <a:xfrm>
            <a:off x="1611449" y="3518461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7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1. 4. 2021)</a:t>
            </a: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E32A18E1-478B-49B3-B19F-744DF92D3F6C}"/>
              </a:ext>
            </a:extLst>
          </p:cNvPr>
          <p:cNvSpPr txBox="1"/>
          <p:nvPr/>
        </p:nvSpPr>
        <p:spPr>
          <a:xfrm>
            <a:off x="8930651" y="3551262"/>
            <a:ext cx="1544387" cy="101566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5.4.2021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 388 predikovaných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 824 predikovaných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 987 predikovaných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 524 predikovaných</a:t>
            </a:r>
          </a:p>
        </p:txBody>
      </p:sp>
      <p:sp>
        <p:nvSpPr>
          <p:cNvPr id="30" name="TextovéPole 29">
            <a:extLst>
              <a:ext uri="{FF2B5EF4-FFF2-40B4-BE49-F238E27FC236}">
                <a16:creationId xmlns:a16="http://schemas.microsoft.com/office/drawing/2014/main" id="{018C3454-3ACD-4639-ABC1-54A9227CB2EF}"/>
              </a:ext>
            </a:extLst>
          </p:cNvPr>
          <p:cNvSpPr txBox="1"/>
          <p:nvPr/>
        </p:nvSpPr>
        <p:spPr>
          <a:xfrm>
            <a:off x="4752136" y="1239520"/>
            <a:ext cx="539820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ředpokládaný</a:t>
            </a:r>
            <a:r>
              <a:rPr kumimoji="0" lang="cs-CZ" sz="1400" b="0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d</a:t>
            </a:r>
            <a:r>
              <a:rPr kumimoji="0" lang="cs-CZ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d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pat</a:t>
            </a: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ření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z 1. 3</a:t>
            </a:r>
            <a:r>
              <a:rPr kumimoji="0" lang="cs-CZ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; krátkodobé modely </a:t>
            </a:r>
            <a:r>
              <a:rPr kumimoji="0" lang="cs-CZ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alibrovány</a:t>
            </a:r>
            <a:r>
              <a:rPr kumimoji="0" lang="cs-CZ" sz="1400" b="0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ke dni </a:t>
            </a:r>
            <a:r>
              <a:rPr kumimoji="0" lang="cs-CZ" sz="1400" b="0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.4. </a:t>
            </a:r>
            <a:r>
              <a:rPr kumimoji="0" lang="cs-CZ" sz="1400" b="0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21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8444396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ovéPole 4">
            <a:extLst>
              <a:ext uri="{FF2B5EF4-FFF2-40B4-BE49-F238E27FC236}">
                <a16:creationId xmlns:a16="http://schemas.microsoft.com/office/drawing/2014/main" id="{A8F32B7D-2094-4232-AD78-BE19DD7B9AE6}"/>
              </a:ext>
            </a:extLst>
          </p:cNvPr>
          <p:cNvSpPr txBox="1"/>
          <p:nvPr/>
        </p:nvSpPr>
        <p:spPr>
          <a:xfrm>
            <a:off x="-200165" y="716292"/>
            <a:ext cx="1231394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pidemické křivky vytvořeny pomocí modelu pro krátkodobé predikce ÚZIS ČR,</a:t>
            </a:r>
            <a:b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1600" b="1" i="0" u="sng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600" b="1" i="0" u="sng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pov</a:t>
            </a:r>
            <a:r>
              <a:rPr kumimoji="0" lang="cs-CZ" sz="1600" b="1" i="0" u="sng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ídá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údajům z 1. 4. 2021.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Naměřené hodnoty jsou aktuální </a:t>
            </a:r>
            <a:r>
              <a:rPr kumimoji="0" lang="pl-PL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 uzavřenému dni 21. 4. 2021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endParaRPr kumimoji="0" lang="cs-CZ" sz="17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000" y="2574"/>
            <a:ext cx="6776706" cy="576000"/>
          </a:xfrm>
        </p:spPr>
        <p:txBody>
          <a:bodyPr/>
          <a:lstStyle/>
          <a:p>
            <a:r>
              <a:rPr lang="cs-CZ" dirty="0" err="1"/>
              <a:t>Rekalibrace</a:t>
            </a:r>
            <a:r>
              <a:rPr lang="cs-CZ" dirty="0"/>
              <a:t> prediktivního modelu pro </a:t>
            </a:r>
            <a:r>
              <a:rPr lang="cs-CZ" u="sng" dirty="0"/>
              <a:t>nové scénáře</a:t>
            </a:r>
          </a:p>
        </p:txBody>
      </p:sp>
      <p:graphicFrame>
        <p:nvGraphicFramePr>
          <p:cNvPr id="10" name="Tabulka 9">
            <a:extLst>
              <a:ext uri="{FF2B5EF4-FFF2-40B4-BE49-F238E27FC236}">
                <a16:creationId xmlns:a16="http://schemas.microsoft.com/office/drawing/2014/main" id="{2CDF3C9D-B366-482C-9DEE-848BF9D72AE3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89775" y="1696577"/>
          <a:ext cx="12024000" cy="3894952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1692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93810515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272550134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889585356"/>
                    </a:ext>
                  </a:extLst>
                </a:gridCol>
                <a:gridCol w="1116000">
                  <a:extLst>
                    <a:ext uri="{9D8B030D-6E8A-4147-A177-3AD203B41FA5}">
                      <a16:colId xmlns:a16="http://schemas.microsoft.com/office/drawing/2014/main" val="3083214646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487868241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891010204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340384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264344487"/>
                    </a:ext>
                  </a:extLst>
                </a:gridCol>
                <a:gridCol w="1008000">
                  <a:extLst>
                    <a:ext uri="{9D8B030D-6E8A-4147-A177-3AD203B41FA5}">
                      <a16:colId xmlns:a16="http://schemas.microsoft.com/office/drawing/2014/main" val="13148050"/>
                    </a:ext>
                  </a:extLst>
                </a:gridCol>
                <a:gridCol w="1008000">
                  <a:extLst>
                    <a:ext uri="{9D8B030D-6E8A-4147-A177-3AD203B41FA5}">
                      <a16:colId xmlns:a16="http://schemas.microsoft.com/office/drawing/2014/main" val="1091220691"/>
                    </a:ext>
                  </a:extLst>
                </a:gridCol>
              </a:tblGrid>
              <a:tr h="822960">
                <a:tc>
                  <a:txBody>
                    <a:bodyPr/>
                    <a:lstStyle/>
                    <a:p>
                      <a:pPr algn="l"/>
                      <a:endParaRPr lang="cs-CZ" sz="16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cs-CZ" sz="1600" u="sng" dirty="0"/>
                        <a:t>Predikovaný celkový počet</a:t>
                      </a:r>
                      <a:r>
                        <a:rPr lang="cs-CZ" sz="1600" u="none" dirty="0"/>
                        <a:t> </a:t>
                      </a:r>
                      <a:br>
                        <a:rPr lang="cs-CZ" sz="1600" u="none" dirty="0"/>
                      </a:br>
                      <a:r>
                        <a:rPr lang="cs-CZ" sz="1600" u="none" dirty="0"/>
                        <a:t>N</a:t>
                      </a:r>
                      <a:r>
                        <a:rPr lang="cs-CZ" sz="1600" dirty="0"/>
                        <a:t>ově prokázané nákazy COVID-19</a:t>
                      </a:r>
                      <a:endParaRPr lang="cs-CZ" sz="1600" b="1" dirty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alita: naměřené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odnot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u="sng" dirty="0"/>
                        <a:t>Predikovaný průměrný denní počet</a:t>
                      </a:r>
                      <a:r>
                        <a:rPr lang="cs-CZ" sz="1600" dirty="0"/>
                        <a:t> Nově prokázané nákazy COVID-19</a:t>
                      </a:r>
                      <a:endParaRPr lang="cs-CZ" sz="16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600" b="1" dirty="0"/>
                        <a:t>Realita: naměřené</a:t>
                      </a:r>
                    </a:p>
                    <a:p>
                      <a:pPr algn="ctr"/>
                      <a:r>
                        <a:rPr lang="cs-CZ" sz="1600" b="1" dirty="0"/>
                        <a:t>hodnoty</a:t>
                      </a:r>
                      <a:endParaRPr lang="en-US" sz="16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16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87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odnota R</a:t>
                      </a:r>
                      <a:br>
                        <a:rPr lang="cs-CZ" sz="16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od 24</a:t>
                      </a:r>
                      <a:r>
                        <a:rPr lang="en-US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r>
                        <a:rPr lang="cs-CZ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3.)</a:t>
                      </a:r>
                      <a:endParaRPr lang="cs-CZ" sz="16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75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85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95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FF"/>
                        </a:highlight>
                        <a:latin typeface="+mj-lt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,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</a:t>
                      </a:r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FF"/>
                        </a:highlight>
                        <a:latin typeface="+mj-lt"/>
                      </a:endParaRP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7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85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95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FF"/>
                        </a:highlight>
                        <a:latin typeface="+mj-lt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,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</a:t>
                      </a:r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FF"/>
                        </a:highlight>
                        <a:latin typeface="+mj-lt"/>
                      </a:endParaRP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highlight>
                            <a:srgbClr val="FFFFFF"/>
                          </a:highlight>
                        </a:rPr>
                        <a:t>denní průměr včetně víkendů</a:t>
                      </a:r>
                      <a:endParaRPr lang="en-US" sz="1200" dirty="0">
                        <a:highlight>
                          <a:srgbClr val="FFFFFF"/>
                        </a:highlight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highlight>
                            <a:srgbClr val="FFFFFF"/>
                          </a:highlight>
                        </a:rPr>
                        <a:t>denní průměr v pracovních dnech</a:t>
                      </a:r>
                      <a:endParaRPr lang="cs-CZ" sz="1200" dirty="0">
                        <a:highlight>
                          <a:srgbClr val="FFFFFF"/>
                        </a:highlight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8491739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indent="0" algn="l" fontAlgn="b"/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  <a:r>
                        <a:rPr lang="cs-CZ" sz="1450" b="1" u="none" strike="noStrike" dirty="0">
                          <a:effectLst/>
                        </a:rPr>
                        <a:t>.–11. 4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 tisíc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 tisíc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 tisíc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 tisíc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 34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3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077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22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131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0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8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6621032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50" u="none" strike="noStrike" dirty="0">
                          <a:effectLst/>
                        </a:rPr>
                        <a:t>Období </a:t>
                      </a:r>
                      <a:r>
                        <a:rPr lang="cs-CZ" sz="1450" b="1" u="none" strike="noStrike" dirty="0">
                          <a:effectLst/>
                        </a:rPr>
                        <a:t>12.–18. 4.</a:t>
                      </a:r>
                      <a:endParaRPr lang="cs-CZ" sz="14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tisíc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 tisíc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 tisíc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 tisíc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48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4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996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820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379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7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2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62736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9</a:t>
                      </a:r>
                      <a:r>
                        <a:rPr lang="cs-CZ" sz="1450" b="1" u="none" strike="noStrike" dirty="0">
                          <a:effectLst/>
                        </a:rPr>
                        <a:t>.–25. 4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tisíc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 tisíc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 tisíc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 tisíc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1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17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442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776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8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?</a:t>
                      </a:r>
                      <a:endParaRPr kumimoji="0" lang="cs-CZ" sz="1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3466947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indent="0" algn="l" fontAlgn="b"/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6.</a:t>
                      </a:r>
                      <a:r>
                        <a:rPr lang="cs-CZ" sz="1450" b="1" u="none" strike="noStrike" dirty="0">
                          <a:effectLst/>
                        </a:rPr>
                        <a:t>–30. 4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4 tisíce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tisíc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 tisíc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 tisíc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8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92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137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107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7246171"/>
                  </a:ext>
                </a:extLst>
              </a:tr>
            </a:tbl>
          </a:graphicData>
        </a:graphic>
      </p:graphicFrame>
      <p:sp>
        <p:nvSpPr>
          <p:cNvPr id="9" name="TextovéPole 8">
            <a:extLst>
              <a:ext uri="{FF2B5EF4-FFF2-40B4-BE49-F238E27FC236}">
                <a16:creationId xmlns:a16="http://schemas.microsoft.com/office/drawing/2014/main" id="{E4A0DC13-0AB7-42C0-B44A-C8095E8723E9}"/>
              </a:ext>
            </a:extLst>
          </p:cNvPr>
          <p:cNvSpPr txBox="1"/>
          <p:nvPr/>
        </p:nvSpPr>
        <p:spPr>
          <a:xfrm>
            <a:off x="228000" y="6279426"/>
            <a:ext cx="1173470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é počty odpovídají modelovaným hodnotám (kalibrovaným na hodnoty pozorované v pracovních dnech), naměřené hodnoty zahrnují všechny počty hlášené do databáze, včetně zřetelně nižších záchytů nemoci v nepracovních dnech. V případě denního průměrného počtu jsou uvedeny i hodnoty, které zahrnují pouze pracovní dny.</a:t>
            </a:r>
          </a:p>
        </p:txBody>
      </p:sp>
      <p:sp>
        <p:nvSpPr>
          <p:cNvPr id="7" name="Šipka dolů 6"/>
          <p:cNvSpPr/>
          <p:nvPr/>
        </p:nvSpPr>
        <p:spPr>
          <a:xfrm>
            <a:off x="3814619" y="1408547"/>
            <a:ext cx="905163" cy="36021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Šipka dolů 10"/>
          <p:cNvSpPr/>
          <p:nvPr/>
        </p:nvSpPr>
        <p:spPr>
          <a:xfrm>
            <a:off x="8502073" y="1429719"/>
            <a:ext cx="905163" cy="36021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7635110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7B5CDE06-5667-475E-8B8F-F1C862A26FF1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/>
          </p:nvPr>
        </p:nvGraphicFramePr>
        <p:xfrm>
          <a:off x="1752600" y="2113487"/>
          <a:ext cx="8686800" cy="29527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65200">
                  <a:extLst>
                    <a:ext uri="{9D8B030D-6E8A-4147-A177-3AD203B41FA5}">
                      <a16:colId xmlns:a16="http://schemas.microsoft.com/office/drawing/2014/main" val="1966621201"/>
                    </a:ext>
                  </a:extLst>
                </a:gridCol>
                <a:gridCol w="965200">
                  <a:extLst>
                    <a:ext uri="{9D8B030D-6E8A-4147-A177-3AD203B41FA5}">
                      <a16:colId xmlns:a16="http://schemas.microsoft.com/office/drawing/2014/main" val="1040813184"/>
                    </a:ext>
                  </a:extLst>
                </a:gridCol>
                <a:gridCol w="965200">
                  <a:extLst>
                    <a:ext uri="{9D8B030D-6E8A-4147-A177-3AD203B41FA5}">
                      <a16:colId xmlns:a16="http://schemas.microsoft.com/office/drawing/2014/main" val="3789941820"/>
                    </a:ext>
                  </a:extLst>
                </a:gridCol>
                <a:gridCol w="965200">
                  <a:extLst>
                    <a:ext uri="{9D8B030D-6E8A-4147-A177-3AD203B41FA5}">
                      <a16:colId xmlns:a16="http://schemas.microsoft.com/office/drawing/2014/main" val="1495837641"/>
                    </a:ext>
                  </a:extLst>
                </a:gridCol>
                <a:gridCol w="965200">
                  <a:extLst>
                    <a:ext uri="{9D8B030D-6E8A-4147-A177-3AD203B41FA5}">
                      <a16:colId xmlns:a16="http://schemas.microsoft.com/office/drawing/2014/main" val="3114857008"/>
                    </a:ext>
                  </a:extLst>
                </a:gridCol>
                <a:gridCol w="965200">
                  <a:extLst>
                    <a:ext uri="{9D8B030D-6E8A-4147-A177-3AD203B41FA5}">
                      <a16:colId xmlns:a16="http://schemas.microsoft.com/office/drawing/2014/main" val="1459727011"/>
                    </a:ext>
                  </a:extLst>
                </a:gridCol>
                <a:gridCol w="965200">
                  <a:extLst>
                    <a:ext uri="{9D8B030D-6E8A-4147-A177-3AD203B41FA5}">
                      <a16:colId xmlns:a16="http://schemas.microsoft.com/office/drawing/2014/main" val="849197921"/>
                    </a:ext>
                  </a:extLst>
                </a:gridCol>
                <a:gridCol w="965200">
                  <a:extLst>
                    <a:ext uri="{9D8B030D-6E8A-4147-A177-3AD203B41FA5}">
                      <a16:colId xmlns:a16="http://schemas.microsoft.com/office/drawing/2014/main" val="1687465303"/>
                    </a:ext>
                  </a:extLst>
                </a:gridCol>
                <a:gridCol w="965200">
                  <a:extLst>
                    <a:ext uri="{9D8B030D-6E8A-4147-A177-3AD203B41FA5}">
                      <a16:colId xmlns:a16="http://schemas.microsoft.com/office/drawing/2014/main" val="1588458930"/>
                    </a:ext>
                  </a:extLst>
                </a:gridCol>
              </a:tblGrid>
              <a:tr h="29527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4.0%</a:t>
                      </a:r>
                    </a:p>
                  </a:txBody>
                  <a:tcPr marL="9525" marR="9525" marT="9525" marB="0" anchor="ctr">
                    <a:solidFill>
                      <a:srgbClr val="9E0D3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6.5%</a:t>
                      </a:r>
                    </a:p>
                  </a:txBody>
                  <a:tcPr marL="9525" marR="9525" marT="9525" marB="0" anchor="ctr">
                    <a:solidFill>
                      <a:srgbClr val="9E0D3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3.2%</a:t>
                      </a:r>
                    </a:p>
                  </a:txBody>
                  <a:tcPr marL="9525" marR="9525" marT="9525" marB="0" anchor="ctr">
                    <a:solidFill>
                      <a:srgbClr val="9E0D3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3.5%</a:t>
                      </a:r>
                    </a:p>
                  </a:txBody>
                  <a:tcPr marL="9525" marR="9525" marT="9525" marB="0" anchor="ctr">
                    <a:solidFill>
                      <a:srgbClr val="9E0D3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9.3%</a:t>
                      </a:r>
                    </a:p>
                  </a:txBody>
                  <a:tcPr marL="9525" marR="9525" marT="9525" marB="0" anchor="ctr">
                    <a:solidFill>
                      <a:srgbClr val="9E0D3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3319425"/>
                  </a:ext>
                </a:extLst>
              </a:tr>
            </a:tbl>
          </a:graphicData>
        </a:graphic>
      </p:graphicFrame>
      <p:graphicFrame>
        <p:nvGraphicFramePr>
          <p:cNvPr id="39" name="Chart 4">
            <a:extLst>
              <a:ext uri="{FF2B5EF4-FFF2-40B4-BE49-F238E27FC236}">
                <a16:creationId xmlns:a16="http://schemas.microsoft.com/office/drawing/2014/main" id="{F3B3A751-5826-48A2-8A63-61032D0536F8}"/>
              </a:ext>
            </a:extLst>
          </p:cNvPr>
          <p:cNvGraphicFramePr/>
          <p:nvPr>
            <p:custDataLst>
              <p:tags r:id="rId2"/>
            </p:custDataLst>
            <p:extLst/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776839" cy="576000"/>
          </a:xfrm>
        </p:spPr>
        <p:txBody>
          <a:bodyPr/>
          <a:lstStyle/>
          <a:p>
            <a:r>
              <a:rPr lang="cs-CZ" dirty="0"/>
              <a:t>Počty nově diagnostikovaných pacientů: týdenní vývoj v ČR</a:t>
            </a:r>
          </a:p>
        </p:txBody>
      </p:sp>
      <p:sp>
        <p:nvSpPr>
          <p:cNvPr id="38" name="TextovéPole 37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215" y="546834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ynamika vývoje počtů pozitivních diagnóz ukazuje na zpomalení šíření nemoci.</a:t>
            </a:r>
          </a:p>
        </p:txBody>
      </p:sp>
      <p:sp>
        <p:nvSpPr>
          <p:cNvPr id="36" name="Šipka doprava 58">
            <a:extLst>
              <a:ext uri="{FF2B5EF4-FFF2-40B4-BE49-F238E27FC236}">
                <a16:creationId xmlns:a16="http://schemas.microsoft.com/office/drawing/2014/main" id="{1EB91550-BE39-4068-9AA2-464822A320B7}"/>
              </a:ext>
            </a:extLst>
          </p:cNvPr>
          <p:cNvSpPr/>
          <p:nvPr/>
        </p:nvSpPr>
        <p:spPr>
          <a:xfrm rot="697074" flipV="1">
            <a:off x="11145324" y="5037652"/>
            <a:ext cx="521883" cy="28115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28" name="Tabulka 8">
            <a:extLst>
              <a:ext uri="{FF2B5EF4-FFF2-40B4-BE49-F238E27FC236}">
                <a16:creationId xmlns:a16="http://schemas.microsoft.com/office/drawing/2014/main" id="{4B7574F6-7368-4B63-81DB-F6EAC02F30A2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/>
          </p:nvPr>
        </p:nvGraphicFramePr>
        <p:xfrm>
          <a:off x="197157" y="967891"/>
          <a:ext cx="11797686" cy="741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66281">
                  <a:extLst>
                    <a:ext uri="{9D8B030D-6E8A-4147-A177-3AD203B41FA5}">
                      <a16:colId xmlns:a16="http://schemas.microsoft.com/office/drawing/2014/main" val="3924625702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1669069357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462042178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4284827979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640797798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52957255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6350" marR="6350" marT="635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6350" marR="6350" marT="635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6350" marR="6350" marT="635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6350" marR="6350" marT="635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6350" marR="6350" marT="635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6350" marR="6350" marT="6350" marB="0" anchor="b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10693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3.–</a:t>
                      </a:r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0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3. </a:t>
                      </a:r>
                    </a:p>
                  </a:txBody>
                  <a:tcPr marL="6350" marR="6350" marT="635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1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3.–2</a:t>
                      </a:r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7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3. </a:t>
                      </a:r>
                    </a:p>
                  </a:txBody>
                  <a:tcPr marL="6350" marR="6350" marT="635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3.–</a:t>
                      </a:r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</a:t>
                      </a:r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</a:t>
                      </a:r>
                    </a:p>
                  </a:txBody>
                  <a:tcPr marL="6350" marR="6350" marT="635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4.–</a:t>
                      </a:r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0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4. </a:t>
                      </a:r>
                    </a:p>
                  </a:txBody>
                  <a:tcPr marL="6350" marR="6350" marT="635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4.–1</a:t>
                      </a:r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7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4. </a:t>
                      </a:r>
                    </a:p>
                  </a:txBody>
                  <a:tcPr marL="6350" marR="6350" marT="635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4.–2</a:t>
                      </a:r>
                      <a:r>
                        <a:rPr lang="en-US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. 4. </a:t>
                      </a:r>
                    </a:p>
                  </a:txBody>
                  <a:tcPr marL="6350" marR="6350" marT="6350" marB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2668816"/>
                  </a:ext>
                </a:extLst>
              </a:tr>
            </a:tbl>
          </a:graphicData>
        </a:graphic>
      </p:graphicFrame>
      <p:sp>
        <p:nvSpPr>
          <p:cNvPr id="30" name="Zahnutá šipka nahoru 25">
            <a:extLst>
              <a:ext uri="{FF2B5EF4-FFF2-40B4-BE49-F238E27FC236}">
                <a16:creationId xmlns:a16="http://schemas.microsoft.com/office/drawing/2014/main" id="{02FE6BCD-B160-4DEB-82CC-D4CDD287F607}"/>
              </a:ext>
            </a:extLst>
          </p:cNvPr>
          <p:cNvSpPr/>
          <p:nvPr/>
        </p:nvSpPr>
        <p:spPr>
          <a:xfrm>
            <a:off x="1203450" y="2309549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" name="Zahnutá šipka nahoru 25">
            <a:extLst>
              <a:ext uri="{FF2B5EF4-FFF2-40B4-BE49-F238E27FC236}">
                <a16:creationId xmlns:a16="http://schemas.microsoft.com/office/drawing/2014/main" id="{E87C39AF-5DBF-4112-A008-28FE61C7D806}"/>
              </a:ext>
            </a:extLst>
          </p:cNvPr>
          <p:cNvSpPr/>
          <p:nvPr/>
        </p:nvSpPr>
        <p:spPr>
          <a:xfrm>
            <a:off x="3172865" y="2309549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Zahnutá šipka nahoru 25">
            <a:extLst>
              <a:ext uri="{FF2B5EF4-FFF2-40B4-BE49-F238E27FC236}">
                <a16:creationId xmlns:a16="http://schemas.microsoft.com/office/drawing/2014/main" id="{9A04A270-7187-4E15-B7EC-383522621181}"/>
              </a:ext>
            </a:extLst>
          </p:cNvPr>
          <p:cNvSpPr/>
          <p:nvPr/>
        </p:nvSpPr>
        <p:spPr>
          <a:xfrm>
            <a:off x="5116865" y="2309549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Zahnutá šipka nahoru 25">
            <a:extLst>
              <a:ext uri="{FF2B5EF4-FFF2-40B4-BE49-F238E27FC236}">
                <a16:creationId xmlns:a16="http://schemas.microsoft.com/office/drawing/2014/main" id="{35647ED1-6EF9-4788-866E-E82C5C053706}"/>
              </a:ext>
            </a:extLst>
          </p:cNvPr>
          <p:cNvSpPr/>
          <p:nvPr/>
        </p:nvSpPr>
        <p:spPr>
          <a:xfrm>
            <a:off x="7086280" y="2309549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1" name="Zahnutá šipka nahoru 25">
            <a:extLst>
              <a:ext uri="{FF2B5EF4-FFF2-40B4-BE49-F238E27FC236}">
                <a16:creationId xmlns:a16="http://schemas.microsoft.com/office/drawing/2014/main" id="{BEB8EDC1-DE8F-4A9A-B5D7-4664DBC21F67}"/>
              </a:ext>
            </a:extLst>
          </p:cNvPr>
          <p:cNvSpPr/>
          <p:nvPr/>
        </p:nvSpPr>
        <p:spPr>
          <a:xfrm>
            <a:off x="9056914" y="2309549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09AF1931-9334-4129-B826-B01E87F9D750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927675" y="3112433"/>
            <a:ext cx="3956723" cy="400110"/>
          </a:xfrm>
          <a:prstGeom prst="rect">
            <a:avLst/>
          </a:prstGeom>
          <a:solidFill>
            <a:srgbClr val="9E0D34"/>
          </a:solidFill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ktuální odhad R pro ČR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: 0,82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1A9C0856-15CF-4917-B9A3-CAFB4763F040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  <p:extLst/>
          </p:nvPr>
        </p:nvGraphicFramePr>
        <p:xfrm>
          <a:off x="197157" y="1743341"/>
          <a:ext cx="11797686" cy="29527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66281">
                  <a:extLst>
                    <a:ext uri="{9D8B030D-6E8A-4147-A177-3AD203B41FA5}">
                      <a16:colId xmlns:a16="http://schemas.microsoft.com/office/drawing/2014/main" val="2706301777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413077620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2872917988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2921272003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424978856"/>
                    </a:ext>
                  </a:extLst>
                </a:gridCol>
                <a:gridCol w="1966281">
                  <a:extLst>
                    <a:ext uri="{9D8B030D-6E8A-4147-A177-3AD203B41FA5}">
                      <a16:colId xmlns:a16="http://schemas.microsoft.com/office/drawing/2014/main" val="2927375975"/>
                    </a:ext>
                  </a:extLst>
                </a:gridCol>
              </a:tblGrid>
              <a:tr h="29527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407 případů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150 případů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58 případů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40 případů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92 případů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94 případů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04666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0754586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ovéPole 18"/>
          <p:cNvSpPr txBox="1"/>
          <p:nvPr/>
        </p:nvSpPr>
        <p:spPr>
          <a:xfrm>
            <a:off x="169682" y="1917135"/>
            <a:ext cx="11802358" cy="47397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400" b="1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á </a:t>
            </a:r>
            <a:r>
              <a:rPr kumimoji="0" lang="cs-CZ" sz="34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librace modelu pro rychlé brždění epidemie provedená dne 5.3. 2021</a:t>
            </a:r>
          </a:p>
          <a:p>
            <a:pPr algn="ctr">
              <a:defRPr/>
            </a:pPr>
            <a:r>
              <a:rPr lang="cs-CZ" sz="3200" i="1" dirty="0" smtClean="0"/>
              <a:t>Model </a:t>
            </a:r>
            <a:r>
              <a:rPr lang="cs-CZ" sz="3200" i="1" dirty="0"/>
              <a:t>předpokládal snížení mobility obyvatel a posílení dodržování opatření již od konce února </a:t>
            </a:r>
            <a:r>
              <a:rPr lang="cs-CZ" sz="3200" i="1" dirty="0" smtClean="0"/>
              <a:t>2021.</a:t>
            </a:r>
            <a:endParaRPr lang="cs-CZ" sz="3200" i="1" kern="0" dirty="0"/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3400" i="1" kern="0" dirty="0">
              <a:latin typeface="Calibri" panose="020F0502020204030204"/>
            </a:endParaRPr>
          </a:p>
          <a:p>
            <a:pPr algn="ctr">
              <a:defRPr/>
            </a:pPr>
            <a:r>
              <a:rPr lang="cs-CZ" sz="3400" b="1" i="1" dirty="0" smtClean="0">
                <a:solidFill>
                  <a:srgbClr val="C00000"/>
                </a:solidFill>
              </a:rPr>
              <a:t>Aktuální vývoj ukazuje </a:t>
            </a:r>
            <a:r>
              <a:rPr lang="cs-CZ" sz="3400" b="1" i="1" dirty="0" smtClean="0">
                <a:solidFill>
                  <a:srgbClr val="C00000"/>
                </a:solidFill>
              </a:rPr>
              <a:t>na rychlejší zpomalování epidemie. </a:t>
            </a:r>
            <a:endParaRPr lang="cs-CZ" sz="3400" b="1" i="1" dirty="0" smtClean="0">
              <a:solidFill>
                <a:srgbClr val="C00000"/>
              </a:solidFill>
            </a:endParaRPr>
          </a:p>
          <a:p>
            <a:pPr algn="ctr">
              <a:defRPr/>
            </a:pPr>
            <a:r>
              <a:rPr lang="cs-CZ" sz="3400" b="1" i="1" dirty="0" smtClean="0">
                <a:solidFill>
                  <a:srgbClr val="C00000"/>
                </a:solidFill>
              </a:rPr>
              <a:t>V </a:t>
            </a:r>
            <a:r>
              <a:rPr lang="cs-CZ" sz="3400" b="1" i="1" dirty="0" smtClean="0">
                <a:solidFill>
                  <a:srgbClr val="C00000"/>
                </a:solidFill>
              </a:rPr>
              <a:t>tomto trendu se již s vysokou pravděpodobností promítá postupující očkování populace. </a:t>
            </a:r>
            <a:endParaRPr kumimoji="0" lang="cs-CZ" sz="3400" i="1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8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Šipka dolů 1"/>
          <p:cNvSpPr/>
          <p:nvPr/>
        </p:nvSpPr>
        <p:spPr>
          <a:xfrm>
            <a:off x="5420413" y="4075284"/>
            <a:ext cx="977774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" name="Obdélník 2"/>
          <p:cNvSpPr/>
          <p:nvPr/>
        </p:nvSpPr>
        <p:spPr>
          <a:xfrm>
            <a:off x="169682" y="254524"/>
            <a:ext cx="11886453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cs-CZ" sz="2400" b="1" kern="0" dirty="0"/>
              <a:t>Dlouhodobá predikce dle modelu SEIR, který byl pro epidemii COVID-19 v ČR adaptován na počátku dubna 2020. </a:t>
            </a:r>
            <a:r>
              <a:rPr lang="cs-CZ" sz="2400" i="1" kern="0" dirty="0">
                <a:solidFill>
                  <a:prstClr val="black"/>
                </a:solidFill>
              </a:rPr>
              <a:t>Predikce pro rizikový vývoj vyvolaný nárůstem rizikových kontaktů nebo zvýšením reprodukční dynamiky nákazy (virtuální efekt případného opětovného uvolnění nebo efekt šíření nakažlivějších forem viru). </a:t>
            </a:r>
          </a:p>
        </p:txBody>
      </p:sp>
      <p:sp>
        <p:nvSpPr>
          <p:cNvPr id="5" name="Šipka dolů 4"/>
          <p:cNvSpPr/>
          <p:nvPr/>
        </p:nvSpPr>
        <p:spPr>
          <a:xfrm>
            <a:off x="5420413" y="6201066"/>
            <a:ext cx="977774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658672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>
            <a:extLst>
              <a:ext uri="{FF2B5EF4-FFF2-40B4-BE49-F238E27FC236}">
                <a16:creationId xmlns:a16="http://schemas.microsoft.com/office/drawing/2014/main" id="{6B087FBF-9A66-4317-AB62-C5DD106DA47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7668" y="1528222"/>
            <a:ext cx="7250497" cy="3240000"/>
          </a:xfrm>
          <a:prstGeom prst="rect">
            <a:avLst/>
          </a:prstGeom>
        </p:spPr>
      </p:pic>
      <p:sp>
        <p:nvSpPr>
          <p:cNvPr id="24" name="TextovéPole 23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1400971" y="198705"/>
            <a:ext cx="9229366" cy="76944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IR model: udržení a významné posílení opatření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pad potenciálních opatření na mobilitu od 19.2.2021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ovéPole 12">
            <a:extLst>
              <a:ext uri="{FF2B5EF4-FFF2-40B4-BE49-F238E27FC236}">
                <a16:creationId xmlns:a16="http://schemas.microsoft.com/office/drawing/2014/main" id="{9119B67F-49E4-4A7A-BA36-DAE66AAD4855}"/>
              </a:ext>
            </a:extLst>
          </p:cNvPr>
          <p:cNvSpPr txBox="1"/>
          <p:nvPr/>
        </p:nvSpPr>
        <p:spPr>
          <a:xfrm rot="16200000">
            <a:off x="-823009" y="3093360"/>
            <a:ext cx="30324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é případy onemocnění za den</a:t>
            </a:r>
          </a:p>
        </p:txBody>
      </p:sp>
      <p:sp>
        <p:nvSpPr>
          <p:cNvPr id="30" name="TextovéPole 25">
            <a:extLst>
              <a:ext uri="{FF2B5EF4-FFF2-40B4-BE49-F238E27FC236}">
                <a16:creationId xmlns:a16="http://schemas.microsoft.com/office/drawing/2014/main" id="{65FFF22E-E755-4AB1-9AFC-9DBD69DD7F82}"/>
              </a:ext>
            </a:extLst>
          </p:cNvPr>
          <p:cNvSpPr txBox="1"/>
          <p:nvPr/>
        </p:nvSpPr>
        <p:spPr>
          <a:xfrm>
            <a:off x="846581" y="1841326"/>
            <a:ext cx="5524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periodicity v rámci týdne, odpovídá cca týdenním klouzavým průměrům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1C4F1DEC-CA3B-4E8E-8A7E-D9123A0B7B2C}"/>
              </a:ext>
            </a:extLst>
          </p:cNvPr>
          <p:cNvSpPr/>
          <p:nvPr/>
        </p:nvSpPr>
        <p:spPr>
          <a:xfrm>
            <a:off x="8340641" y="1532028"/>
            <a:ext cx="3811184" cy="47705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28.12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pracovních kontaktů na 40 %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jiných kontaktů na 4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základní reprodukce o 10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30 % od 4.1.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25.1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základní reprodukce o 70 %</a:t>
            </a:r>
            <a:b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imulace šíření nakažlivějších forem viru, simulace nedodržování opatření)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sng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konce února</a:t>
            </a:r>
            <a:endParaRPr kumimoji="0" lang="cs-CZ" sz="1600" b="1" i="0" u="sng" strike="noStrike" kern="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pracovních kontaktů na </a:t>
            </a:r>
            <a:r>
              <a:rPr kumimoji="0" lang="cs-CZ" sz="1600" b="1" i="0" u="sng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 %</a:t>
            </a:r>
            <a:endParaRPr kumimoji="0" lang="en-US" sz="1600" b="1" i="0" u="sng" strike="noStrike" kern="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jiných kontaktů na </a:t>
            </a:r>
            <a:r>
              <a:rPr kumimoji="0" lang="cs-CZ" sz="1600" b="1" i="0" u="sng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vedeny podíly normálních kontaktů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0F1B0D8B-D2F4-4533-8528-E8DD2C61DC04}"/>
              </a:ext>
            </a:extLst>
          </p:cNvPr>
          <p:cNvCxnSpPr/>
          <p:nvPr/>
        </p:nvCxnSpPr>
        <p:spPr>
          <a:xfrm>
            <a:off x="5672750" y="1532028"/>
            <a:ext cx="496389" cy="174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D23E56DB-DDE0-4AA6-BB35-813E6B878D6D}"/>
              </a:ext>
            </a:extLst>
          </p:cNvPr>
          <p:cNvSpPr txBox="1"/>
          <p:nvPr/>
        </p:nvSpPr>
        <p:spPr>
          <a:xfrm>
            <a:off x="6203973" y="1369564"/>
            <a:ext cx="20101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mulace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42BED43F-A47C-4D3B-9F87-076250E20B18}"/>
              </a:ext>
            </a:extLst>
          </p:cNvPr>
          <p:cNvSpPr txBox="1"/>
          <p:nvPr/>
        </p:nvSpPr>
        <p:spPr>
          <a:xfrm>
            <a:off x="1400971" y="1197205"/>
            <a:ext cx="36094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anžově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sud pozorovaná data,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klouzavý průměr, časové </a:t>
            </a:r>
            <a:r>
              <a: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poždění k hlášení 4 dny</a:t>
            </a:r>
            <a:endParaRPr kumimoji="0" lang="cs-CZ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11F9500-ED81-45FD-AF3C-90840EEBF1C3}"/>
              </a:ext>
            </a:extLst>
          </p:cNvPr>
          <p:cNvSpPr txBox="1"/>
          <p:nvPr/>
        </p:nvSpPr>
        <p:spPr>
          <a:xfrm>
            <a:off x="169916" y="5870196"/>
            <a:ext cx="803442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 SEIR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</a:p>
        </p:txBody>
      </p:sp>
      <p:graphicFrame>
        <p:nvGraphicFramePr>
          <p:cNvPr id="15" name="Tabulka 10">
            <a:extLst>
              <a:ext uri="{FF2B5EF4-FFF2-40B4-BE49-F238E27FC236}">
                <a16:creationId xmlns:a16="http://schemas.microsoft.com/office/drawing/2014/main" id="{4980723B-CE17-4BB1-95EB-C838B644D0EE}"/>
              </a:ext>
            </a:extLst>
          </p:cNvPr>
          <p:cNvGraphicFramePr>
            <a:graphicFrameLocks noGrp="1"/>
          </p:cNvGraphicFramePr>
          <p:nvPr/>
        </p:nvGraphicFramePr>
        <p:xfrm>
          <a:off x="200608" y="4765643"/>
          <a:ext cx="7834447" cy="8304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77996">
                  <a:extLst>
                    <a:ext uri="{9D8B030D-6E8A-4147-A177-3AD203B41FA5}">
                      <a16:colId xmlns:a16="http://schemas.microsoft.com/office/drawing/2014/main" val="2668584180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448076295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522117172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8102247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900389438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418613230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338296863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3321566055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650665797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2879972236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194269133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562465228"/>
                    </a:ext>
                  </a:extLst>
                </a:gridCol>
              </a:tblGrid>
              <a:tr h="275016">
                <a:tc>
                  <a:txBody>
                    <a:bodyPr/>
                    <a:lstStyle/>
                    <a:p>
                      <a:pPr algn="ctr" fontAlgn="b"/>
                      <a:endParaRPr lang="cs-CZ" sz="1200" b="1" i="0" u="none" strike="noStrike" noProof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červe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rp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ed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úno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řez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ub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  <a:endParaRPr lang="cs-CZ" sz="1100" b="1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1870"/>
                  </a:ext>
                </a:extLst>
              </a:tr>
              <a:tr h="28037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ově za měsíc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3950241"/>
                  </a:ext>
                </a:extLst>
              </a:tr>
              <a:tr h="27501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umulativně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2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0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2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8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6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702043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6069511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ázek 1">
            <a:extLst>
              <a:ext uri="{FF2B5EF4-FFF2-40B4-BE49-F238E27FC236}">
                <a16:creationId xmlns:a16="http://schemas.microsoft.com/office/drawing/2014/main" id="{ADAB7595-31A1-4015-A7A4-41F2495D039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0859" y="1525643"/>
            <a:ext cx="7250497" cy="3240000"/>
          </a:xfrm>
          <a:prstGeom prst="rect">
            <a:avLst/>
          </a:prstGeom>
        </p:spPr>
      </p:pic>
      <p:sp>
        <p:nvSpPr>
          <p:cNvPr id="24" name="TextovéPole 23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1400971" y="198705"/>
            <a:ext cx="9229366" cy="76944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IR model: udržení a významné posílení opatření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pad potenciálních opatření na mobilitu od 19.2.2021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ovéPole 12">
            <a:extLst>
              <a:ext uri="{FF2B5EF4-FFF2-40B4-BE49-F238E27FC236}">
                <a16:creationId xmlns:a16="http://schemas.microsoft.com/office/drawing/2014/main" id="{9119B67F-49E4-4A7A-BA36-DAE66AAD4855}"/>
              </a:ext>
            </a:extLst>
          </p:cNvPr>
          <p:cNvSpPr txBox="1"/>
          <p:nvPr/>
        </p:nvSpPr>
        <p:spPr>
          <a:xfrm rot="16200000">
            <a:off x="-823009" y="3093360"/>
            <a:ext cx="30324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é případy onemocnění za den</a:t>
            </a:r>
          </a:p>
        </p:txBody>
      </p:sp>
      <p:sp>
        <p:nvSpPr>
          <p:cNvPr id="30" name="TextovéPole 25">
            <a:extLst>
              <a:ext uri="{FF2B5EF4-FFF2-40B4-BE49-F238E27FC236}">
                <a16:creationId xmlns:a16="http://schemas.microsoft.com/office/drawing/2014/main" id="{65FFF22E-E755-4AB1-9AFC-9DBD69DD7F82}"/>
              </a:ext>
            </a:extLst>
          </p:cNvPr>
          <p:cNvSpPr txBox="1"/>
          <p:nvPr/>
        </p:nvSpPr>
        <p:spPr>
          <a:xfrm>
            <a:off x="846581" y="1841326"/>
            <a:ext cx="5524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periodicity v rámci týdne, odpovídá cca týdenním klouzavým průměrům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1C4F1DEC-CA3B-4E8E-8A7E-D9123A0B7B2C}"/>
              </a:ext>
            </a:extLst>
          </p:cNvPr>
          <p:cNvSpPr/>
          <p:nvPr/>
        </p:nvSpPr>
        <p:spPr>
          <a:xfrm>
            <a:off x="8340641" y="1532028"/>
            <a:ext cx="3811184" cy="47705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28.12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pracovních kontaktů na 40 %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jiných kontaktů na 4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základní reprodukce o 10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30 % od 4.1.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25.1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základní reprodukce o 70 %</a:t>
            </a:r>
            <a:b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imulace šíření nakažlivějších forem viru, simulace nedodržování opatření)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sng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konce února</a:t>
            </a:r>
            <a:endParaRPr kumimoji="0" lang="cs-CZ" sz="1600" b="1" i="0" u="sng" strike="noStrike" kern="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pracovních kontaktů na </a:t>
            </a:r>
            <a:r>
              <a:rPr kumimoji="0" lang="cs-CZ" sz="1600" b="1" i="0" u="sng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 %</a:t>
            </a:r>
            <a:endParaRPr kumimoji="0" lang="en-US" sz="1600" b="1" i="0" u="sng" strike="noStrike" kern="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jiných kontaktů na </a:t>
            </a:r>
            <a:r>
              <a:rPr kumimoji="0" lang="cs-CZ" sz="1600" b="1" i="0" u="sng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vedeny podíly normálních kontaktů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0F1B0D8B-D2F4-4533-8528-E8DD2C61DC04}"/>
              </a:ext>
            </a:extLst>
          </p:cNvPr>
          <p:cNvCxnSpPr/>
          <p:nvPr/>
        </p:nvCxnSpPr>
        <p:spPr>
          <a:xfrm>
            <a:off x="5672750" y="1532028"/>
            <a:ext cx="496389" cy="174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D23E56DB-DDE0-4AA6-BB35-813E6B878D6D}"/>
              </a:ext>
            </a:extLst>
          </p:cNvPr>
          <p:cNvSpPr txBox="1"/>
          <p:nvPr/>
        </p:nvSpPr>
        <p:spPr>
          <a:xfrm>
            <a:off x="6203973" y="1369564"/>
            <a:ext cx="20101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mulace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42BED43F-A47C-4D3B-9F87-076250E20B18}"/>
              </a:ext>
            </a:extLst>
          </p:cNvPr>
          <p:cNvSpPr txBox="1"/>
          <p:nvPr/>
        </p:nvSpPr>
        <p:spPr>
          <a:xfrm>
            <a:off x="1400971" y="1197205"/>
            <a:ext cx="36094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anžově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sud pozorovaná data,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ACOVNÍ DNY, časové </a:t>
            </a:r>
            <a:r>
              <a: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poždění k hlášení 4 dny</a:t>
            </a:r>
            <a:endParaRPr kumimoji="0" lang="cs-CZ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11F9500-ED81-45FD-AF3C-90840EEBF1C3}"/>
              </a:ext>
            </a:extLst>
          </p:cNvPr>
          <p:cNvSpPr txBox="1"/>
          <p:nvPr/>
        </p:nvSpPr>
        <p:spPr>
          <a:xfrm>
            <a:off x="169916" y="5870196"/>
            <a:ext cx="803442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 SEIR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</a:p>
        </p:txBody>
      </p:sp>
      <p:graphicFrame>
        <p:nvGraphicFramePr>
          <p:cNvPr id="15" name="Tabulka 10">
            <a:extLst>
              <a:ext uri="{FF2B5EF4-FFF2-40B4-BE49-F238E27FC236}">
                <a16:creationId xmlns:a16="http://schemas.microsoft.com/office/drawing/2014/main" id="{4980723B-CE17-4BB1-95EB-C838B644D0EE}"/>
              </a:ext>
            </a:extLst>
          </p:cNvPr>
          <p:cNvGraphicFramePr>
            <a:graphicFrameLocks noGrp="1"/>
          </p:cNvGraphicFramePr>
          <p:nvPr/>
        </p:nvGraphicFramePr>
        <p:xfrm>
          <a:off x="200608" y="4765643"/>
          <a:ext cx="7834447" cy="8304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77996">
                  <a:extLst>
                    <a:ext uri="{9D8B030D-6E8A-4147-A177-3AD203B41FA5}">
                      <a16:colId xmlns:a16="http://schemas.microsoft.com/office/drawing/2014/main" val="2668584180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448076295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522117172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8102247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900389438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418613230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338296863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3321566055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650665797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2879972236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194269133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562465228"/>
                    </a:ext>
                  </a:extLst>
                </a:gridCol>
              </a:tblGrid>
              <a:tr h="275016">
                <a:tc>
                  <a:txBody>
                    <a:bodyPr/>
                    <a:lstStyle/>
                    <a:p>
                      <a:pPr algn="ctr" fontAlgn="b"/>
                      <a:endParaRPr lang="cs-CZ" sz="1200" b="1" i="0" u="none" strike="noStrike" noProof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červe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rp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ed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úno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řez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ub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  <a:endParaRPr lang="cs-CZ" sz="1100" b="1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1870"/>
                  </a:ext>
                </a:extLst>
              </a:tr>
              <a:tr h="28037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ově za měsíc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3950241"/>
                  </a:ext>
                </a:extLst>
              </a:tr>
              <a:tr h="27501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umulativně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2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0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2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8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6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702043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6625945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Motiv systému Office">
  <a:themeElements>
    <a:clrScheme name="Vlastní 2">
      <a:dk1>
        <a:srgbClr val="5F5F5F"/>
      </a:dk1>
      <a:lt1>
        <a:sysClr val="window" lastClr="FFFFFF"/>
      </a:lt1>
      <a:dk2>
        <a:srgbClr val="84848E"/>
      </a:dk2>
      <a:lt2>
        <a:srgbClr val="F2F2F2"/>
      </a:lt2>
      <a:accent1>
        <a:srgbClr val="E7B13D"/>
      </a:accent1>
      <a:accent2>
        <a:srgbClr val="3D67BC"/>
      </a:accent2>
      <a:accent3>
        <a:srgbClr val="274073"/>
      </a:accent3>
      <a:accent4>
        <a:srgbClr val="84848E"/>
      </a:accent4>
      <a:accent5>
        <a:srgbClr val="D8D8D8"/>
      </a:accent5>
      <a:accent6>
        <a:srgbClr val="DDDCE0"/>
      </a:accent6>
      <a:hlink>
        <a:srgbClr val="1919FF"/>
      </a:hlink>
      <a:folHlink>
        <a:srgbClr val="00005F"/>
      </a:folHlink>
    </a:clrScheme>
    <a:fontScheme name="Paliativní péče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4.xml><?xml version="1.0" encoding="utf-8"?>
<a:theme xmlns:a="http://schemas.openxmlformats.org/drawingml/2006/main" name="2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7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6.xml><?xml version="1.0" encoding="utf-8"?>
<a:theme xmlns:a="http://schemas.openxmlformats.org/drawingml/2006/main" name="3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reporting-20200715" id="{379A0E5D-63B7-482A-BD5E-A4CD691F8FBC}" vid="{74C76523-B6A0-4B86-942B-0A5EF321F495}"/>
    </a:ext>
  </a:extLst>
</a:theme>
</file>

<file path=ppt/theme/theme7.xml><?xml version="1.0" encoding="utf-8"?>
<a:theme xmlns:a="http://schemas.openxmlformats.org/drawingml/2006/main" name="8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8.xml><?xml version="1.0" encoding="utf-8"?>
<a:theme xmlns:a="http://schemas.openxmlformats.org/drawingml/2006/main" name="6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148</TotalTime>
  <Words>4665</Words>
  <Application>Microsoft Office PowerPoint</Application>
  <PresentationFormat>Širokoúhlá obrazovka</PresentationFormat>
  <Paragraphs>824</Paragraphs>
  <Slides>36</Slides>
  <Notes>4</Notes>
  <HiddenSlides>0</HiddenSlides>
  <MMClips>0</MMClips>
  <ScaleCrop>false</ScaleCrop>
  <HeadingPairs>
    <vt:vector size="6" baseType="variant">
      <vt:variant>
        <vt:lpstr>Použitá písma</vt:lpstr>
      </vt:variant>
      <vt:variant>
        <vt:i4>6</vt:i4>
      </vt:variant>
      <vt:variant>
        <vt:lpstr>Motiv</vt:lpstr>
      </vt:variant>
      <vt:variant>
        <vt:i4>8</vt:i4>
      </vt:variant>
      <vt:variant>
        <vt:lpstr>Nadpisy snímků</vt:lpstr>
      </vt:variant>
      <vt:variant>
        <vt:i4>36</vt:i4>
      </vt:variant>
    </vt:vector>
  </HeadingPairs>
  <TitlesOfParts>
    <vt:vector size="50" baseType="lpstr">
      <vt:lpstr>Arial</vt:lpstr>
      <vt:lpstr>Arial Black</vt:lpstr>
      <vt:lpstr>Calibri</vt:lpstr>
      <vt:lpstr>Calibri Light</vt:lpstr>
      <vt:lpstr>Segoe UI</vt:lpstr>
      <vt:lpstr>Wingdings</vt:lpstr>
      <vt:lpstr>Motiv Office</vt:lpstr>
      <vt:lpstr>1_Motiv systému Office</vt:lpstr>
      <vt:lpstr>1_Motiv Office</vt:lpstr>
      <vt:lpstr>2_Motiv Office</vt:lpstr>
      <vt:lpstr>7_Motiv Office</vt:lpstr>
      <vt:lpstr>3_Motiv Office</vt:lpstr>
      <vt:lpstr>8_Motiv Office</vt:lpstr>
      <vt:lpstr>6_Motiv Office</vt:lpstr>
      <vt:lpstr>Datová a informační základna  pro management pandemie COVID-19</vt:lpstr>
      <vt:lpstr>Datová a informační základna  pro management pandemie COVID-19</vt:lpstr>
      <vt:lpstr>Prezentace aplikace PowerPoint</vt:lpstr>
      <vt:lpstr>Predikce ve čtyřech scénářích</vt:lpstr>
      <vt:lpstr>Rekalibrace prediktivního modelu pro nové scénáře</vt:lpstr>
      <vt:lpstr>Počty nově diagnostikovaných pacientů: týdenní vývoj v ČR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Scénáře dlouhodobých simulací z 5.3. 2021</vt:lpstr>
      <vt:lpstr>Scénáře dlouhodobých simulací z 5.3. 2021</vt:lpstr>
      <vt:lpstr>Scénáře dlouhodobých simulací z 5.3. 2021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 Aktuální počty hospitalizovaných pacientů klesají a roste i dostupná kapacita lůžek, včetně JIP</vt:lpstr>
      <vt:lpstr>Národní dispečink lůžkové péče</vt:lpstr>
      <vt:lpstr>Národní dispečink lůžkové péče</vt:lpstr>
      <vt:lpstr>NDLP – vývoj obsazenosti C+ lůžek v ČR</vt:lpstr>
      <vt:lpstr>Datová a informační základna  pro management pandemie COVID-19</vt:lpstr>
      <vt:lpstr>Prezentace aplikace PowerPoint</vt:lpstr>
      <vt:lpstr>Predikovaný počet aktuálně hospitalizovaných</vt:lpstr>
      <vt:lpstr>Predikovaný počet aktuálně hospitalizovaných na JIP</vt:lpstr>
      <vt:lpstr>Predikovaný počet nových hospitalizačních případů</vt:lpstr>
      <vt:lpstr>Predikovaný počet zemřelých</vt:lpstr>
      <vt:lpstr>Prezentace aplikace PowerPoint</vt:lpstr>
      <vt:lpstr>7 denní počet nových případů (na 100 000 obyv.) v okresech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artin Komenda</dc:creator>
  <cp:lastModifiedBy>Ladislav Dušek</cp:lastModifiedBy>
  <cp:revision>1926</cp:revision>
  <dcterms:created xsi:type="dcterms:W3CDTF">2020-03-16T10:06:11Z</dcterms:created>
  <dcterms:modified xsi:type="dcterms:W3CDTF">2021-04-25T19:18:07Z</dcterms:modified>
</cp:coreProperties>
</file>